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61" r:id="rId5"/>
  </p:sldMasterIdLst>
  <p:notesMasterIdLst>
    <p:notesMasterId r:id="rId13"/>
  </p:notesMasterIdLst>
  <p:sldIdLst>
    <p:sldId id="256" r:id="rId6"/>
    <p:sldId id="2146849074" r:id="rId7"/>
    <p:sldId id="2146849151" r:id="rId8"/>
    <p:sldId id="2146849228" r:id="rId9"/>
    <p:sldId id="2146849229" r:id="rId10"/>
    <p:sldId id="2146849230" r:id="rId11"/>
    <p:sldId id="2146849231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ED15C54-10F5-F643-994A-766F775373F0}" v="27" dt="2023-12-18T17:04:47.18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inimized" horzBarState="minimized">
    <p:restoredLeft sz="0" autoAdjust="0"/>
    <p:restoredTop sz="0" autoAdjust="0"/>
  </p:normalViewPr>
  <p:slideViewPr>
    <p:cSldViewPr snapToGrid="0">
      <p:cViewPr varScale="1">
        <p:scale>
          <a:sx n="22" d="100"/>
          <a:sy n="22" d="100"/>
        </p:scale>
        <p:origin x="2918" y="2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4C77AD4-EF00-D143-8CF8-513B5E85959C}" type="datetimeFigureOut">
              <a:rPr lang="en-US" smtClean="0"/>
              <a:t>12/20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FB521D-FA76-9741-8442-29CA72F3F82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26138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>
                <a:cs typeface="Calibri"/>
              </a:rPr>
              <a:t>DOUG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729B617-F79D-4AB0-A8B5-C181D28B99F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07398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729B617-F79D-4AB0-A8B5-C181D28B99F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007398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mount left - $11,723,925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23D9AE-7E9A-4D1C-A511-4B19DAF6693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368909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mount left - $11,723,925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23D9AE-7E9A-4D1C-A511-4B19DAF6693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1813542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otal amount of remaining </a:t>
            </a:r>
            <a:r>
              <a:rPr lang="en-US"/>
              <a:t>funds as </a:t>
            </a:r>
            <a:r>
              <a:rPr lang="en-US" dirty="0"/>
              <a:t>of November - $9,699,778.7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23D9AE-7E9A-4D1C-A511-4B19DAF6693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458385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otal amount of remaining </a:t>
            </a:r>
            <a:r>
              <a:rPr lang="en-US"/>
              <a:t>funds as </a:t>
            </a:r>
            <a:r>
              <a:rPr lang="en-US" dirty="0"/>
              <a:t>of November - $9,699,778.71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23D9AE-7E9A-4D1C-A511-4B19DAF6693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177562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/Relationships>
</file>

<file path=ppt/slideLayouts/_rels/slideLayout2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42352C-E9FA-EF2B-53C5-AF64BE308A1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2D034B4-5A10-301D-1880-D7FAEAB7445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9AEA60-FEC0-C644-8613-F1A683FEED8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5D3E76-832D-394F-AC0D-8AB3C0598EF8}" type="datetimeFigureOut">
              <a:rPr lang="en-US" smtClean="0"/>
              <a:t>12/2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D86DD9-9423-B52E-C195-23647F7332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26E20B-8B1E-C45D-C65F-FA04DFC5233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FA747F-21C8-1C4D-9A04-AECE3CEC65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21695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86E44B-4699-34AC-529D-F3526849C9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21AB9BA-BD81-9EFF-E843-65B3FE695EF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3E097FA-E087-FD2D-4623-ED3E73D5A9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5D3E76-832D-394F-AC0D-8AB3C0598EF8}" type="datetimeFigureOut">
              <a:rPr lang="en-US" smtClean="0"/>
              <a:t>12/2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BFB47BC-77CD-AE55-824D-1CD6C6C8E4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638238C-00C6-C3E3-FECB-BAEA315829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FA747F-21C8-1C4D-9A04-AECE3CEC65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053093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46B752F-E382-508A-7360-263ACD93439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490C7E2-94CF-DF10-04CB-1FF7DFDB7E1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E139A4B-22DB-46F7-CB5A-A79F52267E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5D3E76-832D-394F-AC0D-8AB3C0598EF8}" type="datetimeFigureOut">
              <a:rPr lang="en-US" smtClean="0"/>
              <a:t>12/2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DC90194-A2C4-F3F1-6AC5-160C2A5C00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FF46D01-F188-33D1-C520-A146CC90FC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FA747F-21C8-1C4D-9A04-AECE3CEC65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76856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0623" y="185313"/>
            <a:ext cx="11350753" cy="592562"/>
          </a:xfrm>
        </p:spPr>
        <p:txBody>
          <a:bodyPr lIns="0" rIns="0" anchor="ctr"/>
          <a:lstStyle>
            <a:lvl1pPr>
              <a:defRPr sz="2000" b="1" cap="all" spc="130" baseline="0">
                <a:solidFill>
                  <a:srgbClr val="014373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6E2F2300-FD7F-49A2-AD1C-882AD5CF52CC}"/>
              </a:ext>
            </a:extLst>
          </p:cNvPr>
          <p:cNvCxnSpPr>
            <a:cxnSpLocks/>
          </p:cNvCxnSpPr>
          <p:nvPr userDrawn="1"/>
        </p:nvCxnSpPr>
        <p:spPr>
          <a:xfrm>
            <a:off x="420624" y="777875"/>
            <a:ext cx="1371600" cy="0"/>
          </a:xfrm>
          <a:prstGeom prst="straightConnector1">
            <a:avLst/>
          </a:prstGeom>
          <a:noFill/>
          <a:ln w="38100" cap="flat" cmpd="sng" algn="ctr">
            <a:solidFill>
              <a:srgbClr val="01437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F9780461-BF97-45FF-888C-1942E648F7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537"/>
          <a:stretch/>
        </p:blipFill>
        <p:spPr>
          <a:xfrm>
            <a:off x="420624" y="6229553"/>
            <a:ext cx="1131146" cy="518014"/>
          </a:xfrm>
          <a:prstGeom prst="rect">
            <a:avLst/>
          </a:prstGeom>
        </p:spPr>
      </p:pic>
      <p:sp>
        <p:nvSpPr>
          <p:cNvPr id="11" name="Holder 6">
            <a:extLst>
              <a:ext uri="{FF2B5EF4-FFF2-40B4-BE49-F238E27FC236}">
                <a16:creationId xmlns:a16="http://schemas.microsoft.com/office/drawing/2014/main" id="{4BB176CF-EDF3-48AF-914B-97F5C5946B35}"/>
              </a:ext>
            </a:extLst>
          </p:cNvPr>
          <p:cNvSpPr txBox="1">
            <a:spLocks/>
          </p:cNvSpPr>
          <p:nvPr userDrawn="1"/>
        </p:nvSpPr>
        <p:spPr>
          <a:xfrm>
            <a:off x="11352368" y="6411616"/>
            <a:ext cx="419008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500" b="0" i="0" kern="1200">
                <a:solidFill>
                  <a:srgbClr val="6F7072"/>
                </a:solidFill>
                <a:latin typeface="EYInterstate Light"/>
                <a:ea typeface="+mn-ea"/>
                <a:cs typeface="EYInterstate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049" algn="r"/>
            <a:fld id="{81D60167-4931-47E6-BA6A-407CBD079E47}" type="slidenum">
              <a:rPr lang="en-US" sz="999" smtClean="0">
                <a:solidFill>
                  <a:srgbClr val="808080"/>
                </a:solidFill>
                <a:latin typeface="+mn-lt"/>
              </a:rPr>
              <a:pPr marL="19049" algn="r"/>
              <a:t>‹#›</a:t>
            </a:fld>
            <a:endParaRPr lang="en-US" sz="999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17313313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B5841F1B-4504-0E43-818D-A592EF13E9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4723" y="0"/>
            <a:ext cx="6555474" cy="6365290"/>
          </a:xfrm>
          <a:prstGeom prst="rect">
            <a:avLst/>
          </a:prstGeom>
        </p:spPr>
      </p:pic>
      <p:sp>
        <p:nvSpPr>
          <p:cNvPr id="19" name="Subtitle 2">
            <a:extLst>
              <a:ext uri="{FF2B5EF4-FFF2-40B4-BE49-F238E27FC236}">
                <a16:creationId xmlns:a16="http://schemas.microsoft.com/office/drawing/2014/main" id="{FB27D012-A4F8-BA49-A380-23B882DF96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80791" y="4224271"/>
            <a:ext cx="3745970" cy="328101"/>
          </a:xfrm>
          <a:prstGeom prst="rect">
            <a:avLst/>
          </a:prstGeom>
        </p:spPr>
        <p:txBody>
          <a:bodyPr anchor="b">
            <a:normAutofit lnSpcReduction="10000"/>
          </a:bodyPr>
          <a:lstStyle>
            <a:lvl1pPr marL="0" indent="0">
              <a:buNone/>
              <a:defRPr/>
            </a:lvl1pPr>
          </a:lstStyle>
          <a:p>
            <a:pPr algn="l"/>
            <a:endParaRPr lang="en-US" sz="1400">
              <a:cs typeface="Calibri" panose="020F050202020403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DE682AD-EAEA-2548-9622-F1691EF30534}"/>
              </a:ext>
            </a:extLst>
          </p:cNvPr>
          <p:cNvSpPr/>
          <p:nvPr userDrawn="1"/>
        </p:nvSpPr>
        <p:spPr>
          <a:xfrm>
            <a:off x="0" y="6045959"/>
            <a:ext cx="12192000" cy="812704"/>
          </a:xfrm>
          <a:prstGeom prst="rect">
            <a:avLst/>
          </a:prstGeom>
          <a:solidFill>
            <a:srgbClr val="0A46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C DHHS COVID-19 Respons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9DC0948-870B-1B43-B66F-5B19A0178C7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284" y="4664730"/>
            <a:ext cx="3330783" cy="1268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236989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378E6F4-628E-4B04-B42E-71F26A433E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32EC109-0073-46D7-9D24-4DDC7FC18FA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27F3A-B3E9-41ED-AF8F-A365F10BB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854869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D2E23A7-9AE0-483A-96A8-EE52FDA3E41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537"/>
          <a:stretch/>
        </p:blipFill>
        <p:spPr>
          <a:xfrm>
            <a:off x="420624" y="6229553"/>
            <a:ext cx="1131146" cy="518014"/>
          </a:xfrm>
          <a:prstGeom prst="rect">
            <a:avLst/>
          </a:prstGeom>
        </p:spPr>
      </p:pic>
      <p:sp>
        <p:nvSpPr>
          <p:cNvPr id="8" name="Holder 6">
            <a:extLst>
              <a:ext uri="{FF2B5EF4-FFF2-40B4-BE49-F238E27FC236}">
                <a16:creationId xmlns:a16="http://schemas.microsoft.com/office/drawing/2014/main" id="{774018A9-8A9C-4543-9EC6-39716F313462}"/>
              </a:ext>
            </a:extLst>
          </p:cNvPr>
          <p:cNvSpPr txBox="1">
            <a:spLocks/>
          </p:cNvSpPr>
          <p:nvPr userDrawn="1"/>
        </p:nvSpPr>
        <p:spPr>
          <a:xfrm>
            <a:off x="11352368" y="6411616"/>
            <a:ext cx="419008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500" b="0" i="0" kern="1200">
                <a:solidFill>
                  <a:srgbClr val="6F7072"/>
                </a:solidFill>
                <a:latin typeface="EYInterstate Light"/>
                <a:ea typeface="+mn-ea"/>
                <a:cs typeface="EYInterstate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049" algn="r"/>
            <a:fld id="{81D60167-4931-47E6-BA6A-407CBD079E47}" type="slidenum">
              <a:rPr lang="en-US" sz="999" smtClean="0">
                <a:solidFill>
                  <a:srgbClr val="808080"/>
                </a:solidFill>
                <a:latin typeface="+mn-lt"/>
              </a:rPr>
              <a:pPr marL="19049" algn="r"/>
              <a:t>‹#›</a:t>
            </a:fld>
            <a:endParaRPr lang="en-US" sz="999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15882990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0623" y="185313"/>
            <a:ext cx="11350753" cy="592562"/>
          </a:xfrm>
        </p:spPr>
        <p:txBody>
          <a:bodyPr lIns="0" rIns="0" anchor="ctr"/>
          <a:lstStyle>
            <a:lvl1pPr>
              <a:defRPr sz="2000" b="1" cap="all" spc="130" baseline="0">
                <a:solidFill>
                  <a:srgbClr val="014373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6E2F2300-FD7F-49A2-AD1C-882AD5CF52CC}"/>
              </a:ext>
            </a:extLst>
          </p:cNvPr>
          <p:cNvCxnSpPr>
            <a:cxnSpLocks/>
          </p:cNvCxnSpPr>
          <p:nvPr userDrawn="1"/>
        </p:nvCxnSpPr>
        <p:spPr>
          <a:xfrm>
            <a:off x="420624" y="777875"/>
            <a:ext cx="1371600" cy="0"/>
          </a:xfrm>
          <a:prstGeom prst="straightConnector1">
            <a:avLst/>
          </a:prstGeom>
          <a:noFill/>
          <a:ln w="38100" cap="flat" cmpd="sng" algn="ctr">
            <a:solidFill>
              <a:srgbClr val="01437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F9780461-BF97-45FF-888C-1942E648F7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537"/>
          <a:stretch/>
        </p:blipFill>
        <p:spPr>
          <a:xfrm>
            <a:off x="420624" y="6229553"/>
            <a:ext cx="1131146" cy="518014"/>
          </a:xfrm>
          <a:prstGeom prst="rect">
            <a:avLst/>
          </a:prstGeom>
        </p:spPr>
      </p:pic>
      <p:sp>
        <p:nvSpPr>
          <p:cNvPr id="11" name="Holder 6">
            <a:extLst>
              <a:ext uri="{FF2B5EF4-FFF2-40B4-BE49-F238E27FC236}">
                <a16:creationId xmlns:a16="http://schemas.microsoft.com/office/drawing/2014/main" id="{4BB176CF-EDF3-48AF-914B-97F5C5946B35}"/>
              </a:ext>
            </a:extLst>
          </p:cNvPr>
          <p:cNvSpPr txBox="1">
            <a:spLocks/>
          </p:cNvSpPr>
          <p:nvPr userDrawn="1"/>
        </p:nvSpPr>
        <p:spPr>
          <a:xfrm>
            <a:off x="11352368" y="6411616"/>
            <a:ext cx="419008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500" b="0" i="0" kern="1200">
                <a:solidFill>
                  <a:srgbClr val="6F7072"/>
                </a:solidFill>
                <a:latin typeface="EYInterstate Light"/>
                <a:ea typeface="+mn-ea"/>
                <a:cs typeface="EYInterstate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049" algn="r"/>
            <a:fld id="{81D60167-4931-47E6-BA6A-407CBD079E47}" type="slidenum">
              <a:rPr lang="en-US" sz="999" smtClean="0">
                <a:solidFill>
                  <a:srgbClr val="808080"/>
                </a:solidFill>
                <a:latin typeface="+mn-lt"/>
              </a:rPr>
              <a:pPr marL="19049" algn="r"/>
              <a:t>‹#›</a:t>
            </a:fld>
            <a:endParaRPr lang="en-US" sz="999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182889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D94B2A7-3C10-44C6-8E2C-D730D1BEF0B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20625" y="969264"/>
            <a:ext cx="11350752" cy="1123384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050"/>
            </a:lvl4pPr>
            <a:lvl5pPr>
              <a:lnSpc>
                <a:spcPct val="100000"/>
              </a:lnSpc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0624" y="185313"/>
            <a:ext cx="11350752" cy="592562"/>
          </a:xfrm>
        </p:spPr>
        <p:txBody>
          <a:bodyPr lIns="0" rIns="0" anchor="ctr"/>
          <a:lstStyle>
            <a:lvl1pPr>
              <a:defRPr sz="2000" b="1" cap="all" spc="130" baseline="0">
                <a:solidFill>
                  <a:srgbClr val="014373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6E2F2300-FD7F-49A2-AD1C-882AD5CF52CC}"/>
              </a:ext>
            </a:extLst>
          </p:cNvPr>
          <p:cNvCxnSpPr>
            <a:cxnSpLocks/>
          </p:cNvCxnSpPr>
          <p:nvPr userDrawn="1"/>
        </p:nvCxnSpPr>
        <p:spPr>
          <a:xfrm>
            <a:off x="420624" y="777875"/>
            <a:ext cx="1371600" cy="0"/>
          </a:xfrm>
          <a:prstGeom prst="straightConnector1">
            <a:avLst/>
          </a:prstGeom>
          <a:noFill/>
          <a:ln w="38100" cap="flat" cmpd="sng" algn="ctr">
            <a:solidFill>
              <a:srgbClr val="01437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63175851-4D12-4852-84F5-C13C561B8F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537"/>
          <a:stretch/>
        </p:blipFill>
        <p:spPr>
          <a:xfrm>
            <a:off x="420624" y="6229553"/>
            <a:ext cx="1131146" cy="518014"/>
          </a:xfrm>
          <a:prstGeom prst="rect">
            <a:avLst/>
          </a:prstGeom>
        </p:spPr>
      </p:pic>
      <p:sp>
        <p:nvSpPr>
          <p:cNvPr id="11" name="Holder 6">
            <a:extLst>
              <a:ext uri="{FF2B5EF4-FFF2-40B4-BE49-F238E27FC236}">
                <a16:creationId xmlns:a16="http://schemas.microsoft.com/office/drawing/2014/main" id="{183789D2-8A26-402D-8A27-DE00690B5BEC}"/>
              </a:ext>
            </a:extLst>
          </p:cNvPr>
          <p:cNvSpPr txBox="1">
            <a:spLocks/>
          </p:cNvSpPr>
          <p:nvPr userDrawn="1"/>
        </p:nvSpPr>
        <p:spPr>
          <a:xfrm>
            <a:off x="11352368" y="6411616"/>
            <a:ext cx="419008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500" b="0" i="0" kern="1200">
                <a:solidFill>
                  <a:srgbClr val="6F7072"/>
                </a:solidFill>
                <a:latin typeface="EYInterstate Light"/>
                <a:ea typeface="+mn-ea"/>
                <a:cs typeface="EYInterstate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049" algn="r"/>
            <a:fld id="{81D60167-4931-47E6-BA6A-407CBD079E47}" type="slidenum">
              <a:rPr lang="en-US" sz="999" smtClean="0">
                <a:solidFill>
                  <a:srgbClr val="808080"/>
                </a:solidFill>
                <a:latin typeface="+mn-lt"/>
              </a:rPr>
              <a:pPr marL="19049" algn="r"/>
              <a:t>‹#›</a:t>
            </a:fld>
            <a:endParaRPr lang="en-US" sz="999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5416415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Holder 6">
            <a:extLst>
              <a:ext uri="{FF2B5EF4-FFF2-40B4-BE49-F238E27FC236}">
                <a16:creationId xmlns:a16="http://schemas.microsoft.com/office/drawing/2014/main" id="{A670CC45-FBF9-1043-8627-72B5FC201475}"/>
              </a:ext>
            </a:extLst>
          </p:cNvPr>
          <p:cNvSpPr txBox="1">
            <a:spLocks/>
          </p:cNvSpPr>
          <p:nvPr userDrawn="1"/>
        </p:nvSpPr>
        <p:spPr>
          <a:xfrm>
            <a:off x="11352368" y="6411616"/>
            <a:ext cx="419008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500" b="0" i="0" kern="1200">
                <a:solidFill>
                  <a:srgbClr val="6F7072"/>
                </a:solidFill>
                <a:latin typeface="EYInterstate Light"/>
                <a:ea typeface="+mn-ea"/>
                <a:cs typeface="EYInterstate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049" algn="r"/>
            <a:fld id="{81D60167-4931-47E6-BA6A-407CBD079E47}" type="slidenum">
              <a:rPr lang="en-US" sz="999" smtClean="0">
                <a:solidFill>
                  <a:srgbClr val="808080"/>
                </a:solidFill>
                <a:latin typeface="+mn-lt"/>
              </a:rPr>
              <a:pPr marL="19049" algn="r"/>
              <a:t>‹#›</a:t>
            </a:fld>
            <a:endParaRPr lang="en-US" sz="999">
              <a:solidFill>
                <a:srgbClr val="808080"/>
              </a:solidFill>
              <a:latin typeface="+mn-lt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95B968A7-424C-405F-A24E-08D3BF14E4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537"/>
          <a:stretch/>
        </p:blipFill>
        <p:spPr>
          <a:xfrm>
            <a:off x="420624" y="6229553"/>
            <a:ext cx="1131146" cy="518014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ED188714-B605-A748-A46C-16F68F1E3CC0}"/>
              </a:ext>
            </a:extLst>
          </p:cNvPr>
          <p:cNvSpPr/>
          <p:nvPr userDrawn="1"/>
        </p:nvSpPr>
        <p:spPr>
          <a:xfrm>
            <a:off x="0" y="1"/>
            <a:ext cx="12192000" cy="525517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B49F9B8-BA8C-3F4A-A9F5-91FF675C78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6768" y="2750974"/>
            <a:ext cx="10515600" cy="1325563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100283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49184" y="121332"/>
            <a:ext cx="11493631" cy="592562"/>
          </a:xfrm>
        </p:spPr>
        <p:txBody>
          <a:bodyPr anchor="ctr"/>
          <a:lstStyle>
            <a:lvl1pPr>
              <a:defRPr sz="2400">
                <a:solidFill>
                  <a:srgbClr val="014373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Holder 6">
            <a:extLst>
              <a:ext uri="{FF2B5EF4-FFF2-40B4-BE49-F238E27FC236}">
                <a16:creationId xmlns:a16="http://schemas.microsoft.com/office/drawing/2014/main" id="{A670CC45-FBF9-1043-8627-72B5FC201475}"/>
              </a:ext>
            </a:extLst>
          </p:cNvPr>
          <p:cNvSpPr txBox="1">
            <a:spLocks/>
          </p:cNvSpPr>
          <p:nvPr userDrawn="1"/>
        </p:nvSpPr>
        <p:spPr>
          <a:xfrm>
            <a:off x="11352368" y="6411616"/>
            <a:ext cx="419008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500" b="0" i="0" kern="1200">
                <a:solidFill>
                  <a:srgbClr val="6F7072"/>
                </a:solidFill>
                <a:latin typeface="EYInterstate Light"/>
                <a:ea typeface="+mn-ea"/>
                <a:cs typeface="EYInterstate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049" algn="r"/>
            <a:fld id="{81D60167-4931-47E6-BA6A-407CBD079E47}" type="slidenum">
              <a:rPr lang="en-US" sz="999" smtClean="0">
                <a:solidFill>
                  <a:srgbClr val="808080"/>
                </a:solidFill>
                <a:latin typeface="+mn-lt"/>
              </a:rPr>
              <a:pPr marL="19049" algn="r"/>
              <a:t>‹#›</a:t>
            </a:fld>
            <a:endParaRPr lang="en-US" sz="999">
              <a:solidFill>
                <a:srgbClr val="808080"/>
              </a:solidFill>
              <a:latin typeface="+mn-lt"/>
            </a:endParaRP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6E2F2300-FD7F-49A2-AD1C-882AD5CF52CC}"/>
              </a:ext>
            </a:extLst>
          </p:cNvPr>
          <p:cNvCxnSpPr>
            <a:cxnSpLocks/>
          </p:cNvCxnSpPr>
          <p:nvPr userDrawn="1"/>
        </p:nvCxnSpPr>
        <p:spPr>
          <a:xfrm>
            <a:off x="349185" y="714824"/>
            <a:ext cx="11422191" cy="0"/>
          </a:xfrm>
          <a:prstGeom prst="straightConnector1">
            <a:avLst/>
          </a:prstGeom>
          <a:noFill/>
          <a:ln w="28575" cap="flat" cmpd="sng" algn="ctr">
            <a:solidFill>
              <a:srgbClr val="01437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95B968A7-424C-405F-A24E-08D3BF14E43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537"/>
          <a:stretch/>
        </p:blipFill>
        <p:spPr>
          <a:xfrm>
            <a:off x="420624" y="6229553"/>
            <a:ext cx="1131146" cy="518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980586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FAFEDA-B548-BEDA-DA7F-BFF82C6A54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8CA4F0-469F-29A7-EE99-DB2C12E30FA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4FA088-6788-BA14-A607-EC4BB0DCDF6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5D3E76-832D-394F-AC0D-8AB3C0598EF8}" type="datetimeFigureOut">
              <a:rPr lang="en-US" smtClean="0"/>
              <a:t>12/2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CE4EE23-7120-3C4D-DF79-19F752750D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6EDD2E3-0AA9-FF04-117E-7D70CED565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FA747F-21C8-1C4D-9A04-AECE3CEC65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27844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8867" y="2067905"/>
            <a:ext cx="2017776" cy="1993392"/>
          </a:xfrm>
          <a:prstGeom prst="rect">
            <a:avLst/>
          </a:prstGeom>
        </p:spPr>
      </p:pic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4EDEA2F-8CAE-4566-9543-C37D8DA50AC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691462" y="2040473"/>
            <a:ext cx="7700783" cy="202082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lang="en-US" sz="3200" b="1" baseline="0" smtClean="0">
                <a:ea typeface="Arial" panose="020B0604020202020204" pitchFamily="34" charset="0"/>
              </a:defRPr>
            </a:lvl1pPr>
            <a:lvl2pPr>
              <a:defRPr lang="en-US" sz="2800" smtClean="0">
                <a:latin typeface="Franklin Gothic Demi Cond" panose="020B0706030402020204" pitchFamily="34" charset="0"/>
              </a:defRPr>
            </a:lvl2pPr>
            <a:lvl3pPr>
              <a:defRPr lang="en-US" sz="2800" smtClean="0">
                <a:latin typeface="Franklin Gothic Demi Cond" panose="020B0706030402020204" pitchFamily="34" charset="0"/>
              </a:defRPr>
            </a:lvl3pPr>
            <a:lvl4pPr>
              <a:defRPr lang="en-US" sz="2800" smtClean="0">
                <a:latin typeface="Franklin Gothic Demi Cond" panose="020B0706030402020204" pitchFamily="34" charset="0"/>
              </a:defRPr>
            </a:lvl4pPr>
            <a:lvl5pPr>
              <a:defRPr lang="en-US" sz="2800">
                <a:latin typeface="Franklin Gothic Demi Cond" panose="020B0706030402020204" pitchFamily="34" charset="0"/>
              </a:defRPr>
            </a:lvl5pPr>
          </a:lstStyle>
          <a:p>
            <a:pPr marL="171450" lvl="0" indent="-171450"/>
            <a:r>
              <a:rPr lang="en-US"/>
              <a:t>Click to edit Master text styles</a:t>
            </a:r>
          </a:p>
        </p:txBody>
      </p:sp>
      <p:sp>
        <p:nvSpPr>
          <p:cNvPr id="13" name="Text Placeholder 15">
            <a:extLst>
              <a:ext uri="{FF2B5EF4-FFF2-40B4-BE49-F238E27FC236}">
                <a16:creationId xmlns:a16="http://schemas.microsoft.com/office/drawing/2014/main" id="{741EA323-3686-46B3-9FEB-E98930398C5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691462" y="4071833"/>
            <a:ext cx="7699023" cy="94875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 i="0" baseline="0"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Click to Add Presenter Name and Title</a:t>
            </a:r>
          </a:p>
        </p:txBody>
      </p:sp>
      <p:sp>
        <p:nvSpPr>
          <p:cNvPr id="5" name="Holder 6">
            <a:extLst>
              <a:ext uri="{FF2B5EF4-FFF2-40B4-BE49-F238E27FC236}">
                <a16:creationId xmlns:a16="http://schemas.microsoft.com/office/drawing/2014/main" id="{74B71ABA-3DFC-4885-98A2-CF2BA0AE09FA}"/>
              </a:ext>
            </a:extLst>
          </p:cNvPr>
          <p:cNvSpPr txBox="1">
            <a:spLocks/>
          </p:cNvSpPr>
          <p:nvPr userDrawn="1"/>
        </p:nvSpPr>
        <p:spPr>
          <a:xfrm>
            <a:off x="11562533" y="6508582"/>
            <a:ext cx="419008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500" b="0" i="0" kern="1200">
                <a:solidFill>
                  <a:srgbClr val="6F7072"/>
                </a:solidFill>
                <a:latin typeface="EYInterstate Light"/>
                <a:ea typeface="+mn-ea"/>
                <a:cs typeface="EYInterstate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049" algn="ctr"/>
            <a:fld id="{81D60167-4931-47E6-BA6A-407CBD079E47}" type="slidenum">
              <a:rPr lang="en-US" sz="999" smtClean="0">
                <a:solidFill>
                  <a:srgbClr val="808080"/>
                </a:solidFill>
                <a:latin typeface="+mn-lt"/>
              </a:rPr>
              <a:pPr marL="19049" algn="ctr"/>
              <a:t>‹#›</a:t>
            </a:fld>
            <a:endParaRPr lang="en-US" sz="999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8699127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DADE4F-38EA-4A46-A6C6-8446ECD6824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EFED499-052A-4DDC-B234-D11CDAA011E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7A140CF-2593-42F0-A005-FEE83296F3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0000FD-8915-45C0-80D6-1B15A6752E2A}" type="datetimeFigureOut">
              <a:rPr lang="en-US" smtClean="0"/>
              <a:t>12/2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A91CA11-90F8-48FE-8D0C-BB76D00E08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AD6B61-0F5C-41E3-8732-B7A6CDECA9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648FA-4F72-42C3-929A-4FFCC0C831E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656032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/ Headline 1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03870" y="504000"/>
            <a:ext cx="11183564" cy="738664"/>
          </a:xfrm>
        </p:spPr>
        <p:txBody>
          <a:bodyPr/>
          <a:lstStyle/>
          <a:p>
            <a:r>
              <a:rPr lang="en-GB" noProof="0"/>
              <a:t>Headline in CorpoS (Body) 35 pt.</a:t>
            </a:r>
            <a:br>
              <a:rPr lang="en-GB" noProof="0"/>
            </a:br>
            <a:r>
              <a:rPr lang="en-GB" noProof="0"/>
              <a:t>in two lines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Title of presentation / Department / Date /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GB"/>
              <a:t>Page </a:t>
            </a:r>
            <a:fld id="{52531704-8F80-415D-BD2B-6B9991AE822F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59903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2">
          <p15:clr>
            <a:srgbClr val="FBAE40"/>
          </p15:clr>
        </p15:guide>
        <p15:guide id="2" orient="horz" pos="402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o not remove" hidden="1">
            <a:extLst>
              <a:ext uri="{FF2B5EF4-FFF2-40B4-BE49-F238E27FC236}">
                <a16:creationId xmlns:a16="http://schemas.microsoft.com/office/drawing/2014/main" id="{297FA01E-24AC-49D4-8C41-C51389DC6FF8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2700" cy="12700"/>
          </a:xfrm>
          <a:prstGeom prst="octagon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706090"/>
          </a:xfrm>
          <a:noFill/>
          <a:ln>
            <a:noFill/>
          </a:ln>
        </p:spPr>
        <p:txBody>
          <a:bodyPr>
            <a:normAutofit/>
          </a:bodyPr>
          <a:lstStyle>
            <a:lvl1pPr algn="l">
              <a:defRPr sz="3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fr-F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FR"/>
          </a:p>
        </p:txBody>
      </p:sp>
      <p:cxnSp>
        <p:nvCxnSpPr>
          <p:cNvPr id="8" name="Straight Connector 7"/>
          <p:cNvCxnSpPr/>
          <p:nvPr/>
        </p:nvCxnSpPr>
        <p:spPr>
          <a:xfrm>
            <a:off x="609600" y="1052736"/>
            <a:ext cx="10972800" cy="0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251848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Holder 6">
            <a:extLst>
              <a:ext uri="{FF2B5EF4-FFF2-40B4-BE49-F238E27FC236}">
                <a16:creationId xmlns:a16="http://schemas.microsoft.com/office/drawing/2014/main" id="{7C078F04-0858-47C2-B1C3-DBB69868C94B}"/>
              </a:ext>
            </a:extLst>
          </p:cNvPr>
          <p:cNvSpPr txBox="1">
            <a:spLocks/>
          </p:cNvSpPr>
          <p:nvPr userDrawn="1"/>
        </p:nvSpPr>
        <p:spPr>
          <a:xfrm>
            <a:off x="11562533" y="6508582"/>
            <a:ext cx="419008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500" b="0" i="0" kern="1200">
                <a:solidFill>
                  <a:srgbClr val="6F7072"/>
                </a:solidFill>
                <a:latin typeface="EYInterstate Light"/>
                <a:ea typeface="+mn-ea"/>
                <a:cs typeface="EYInterstate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049" algn="ctr"/>
            <a:fld id="{81D60167-4931-47E6-BA6A-407CBD079E47}" type="slidenum">
              <a:rPr lang="en-US" sz="999" smtClean="0">
                <a:solidFill>
                  <a:srgbClr val="808080"/>
                </a:solidFill>
                <a:latin typeface="Century Gothic" panose="020B0502020202020204" pitchFamily="34" charset="0"/>
              </a:rPr>
              <a:pPr marL="19049" algn="ctr"/>
              <a:t>‹#›</a:t>
            </a:fld>
            <a:endParaRPr lang="en-US" sz="999">
              <a:solidFill>
                <a:srgbClr val="808080"/>
              </a:solidFill>
              <a:latin typeface="Century Gothic" panose="020B0502020202020204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94F3CD28-3307-4B78-9D9F-54A02908B3B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9856" b="89904" l="3514" r="98649">
                        <a14:foregroundMark x1="16351" y1="10096" x2="4324" y2="23317"/>
                        <a14:foregroundMark x1="4324" y1="23317" x2="4054" y2="50240"/>
                        <a14:foregroundMark x1="4054" y1="50240" x2="9054" y2="60577"/>
                        <a14:foregroundMark x1="9054" y1="60577" x2="15676" y2="64663"/>
                        <a14:foregroundMark x1="15676" y1="64663" x2="22973" y2="63221"/>
                        <a14:foregroundMark x1="22973" y1="63221" x2="25541" y2="51683"/>
                        <a14:foregroundMark x1="25541" y1="51683" x2="26216" y2="38702"/>
                        <a14:foregroundMark x1="26216" y1="38702" x2="23108" y2="27163"/>
                        <a14:foregroundMark x1="23108" y1="27163" x2="13919" y2="30769"/>
                        <a14:foregroundMark x1="13919" y1="30769" x2="8108" y2="43750"/>
                        <a14:foregroundMark x1="8108" y1="43750" x2="12703" y2="58654"/>
                        <a14:foregroundMark x1="12703" y1="58654" x2="19595" y2="55048"/>
                        <a14:foregroundMark x1="19595" y1="55048" x2="18649" y2="25962"/>
                        <a14:foregroundMark x1="18649" y1="25962" x2="12297" y2="19952"/>
                        <a14:foregroundMark x1="12297" y1="19952" x2="6892" y2="40144"/>
                        <a14:foregroundMark x1="6892" y1="40144" x2="8649" y2="54087"/>
                        <a14:foregroundMark x1="8649" y1="54087" x2="19865" y2="62260"/>
                        <a14:foregroundMark x1="19865" y1="62260" x2="29189" y2="63462"/>
                        <a14:foregroundMark x1="29189" y1="63462" x2="30676" y2="47356"/>
                        <a14:foregroundMark x1="30676" y1="47356" x2="23784" y2="22356"/>
                        <a14:foregroundMark x1="23784" y1="22356" x2="17162" y2="23317"/>
                        <a14:foregroundMark x1="40405" y1="25481" x2="87838" y2="27885"/>
                        <a14:foregroundMark x1="87838" y1="27885" x2="94730" y2="34615"/>
                        <a14:foregroundMark x1="94730" y1="34615" x2="95270" y2="48558"/>
                        <a14:foregroundMark x1="95270" y1="48558" x2="93919" y2="60337"/>
                        <a14:foregroundMark x1="93919" y1="60337" x2="61757" y2="51683"/>
                        <a14:foregroundMark x1="61757" y1="51683" x2="46892" y2="53365"/>
                        <a14:foregroundMark x1="46892" y1="53365" x2="39324" y2="51202"/>
                        <a14:foregroundMark x1="39324" y1="51202" x2="36622" y2="39904"/>
                        <a14:foregroundMark x1="36622" y1="39904" x2="37027" y2="27404"/>
                        <a14:foregroundMark x1="37027" y1="27404" x2="42297" y2="25962"/>
                        <a14:foregroundMark x1="81622" y1="54087" x2="66216" y2="53846"/>
                        <a14:foregroundMark x1="66216" y1="53846" x2="51486" y2="42788"/>
                        <a14:foregroundMark x1="51486" y1="42788" x2="53243" y2="31010"/>
                        <a14:foregroundMark x1="53243" y1="31010" x2="60270" y2="24519"/>
                        <a14:foregroundMark x1="60270" y1="24519" x2="69459" y2="23317"/>
                        <a14:foregroundMark x1="69459" y1="23317" x2="84189" y2="36779"/>
                        <a14:foregroundMark x1="84189" y1="36779" x2="83378" y2="50240"/>
                        <a14:foregroundMark x1="83378" y1="50240" x2="68514" y2="51202"/>
                        <a14:foregroundMark x1="66892" y1="28846" x2="59189" y2="32933"/>
                        <a14:foregroundMark x1="59189" y1="32933" x2="90405" y2="36298"/>
                        <a14:foregroundMark x1="90405" y1="36298" x2="62703" y2="51683"/>
                        <a14:foregroundMark x1="62703" y1="51683" x2="74595" y2="46394"/>
                        <a14:foregroundMark x1="73919" y1="42788" x2="73919" y2="38221"/>
                        <a14:foregroundMark x1="64730" y1="37019" x2="64730" y2="37019"/>
                        <a14:foregroundMark x1="64730" y1="38942" x2="71081" y2="43990"/>
                        <a14:foregroundMark x1="71081" y1="43990" x2="71216" y2="43990"/>
                        <a14:foregroundMark x1="54324" y1="37500" x2="64595" y2="38942"/>
                        <a14:foregroundMark x1="47297" y1="30529" x2="52027" y2="30529"/>
                        <a14:foregroundMark x1="37838" y1="41827" x2="47973" y2="40865"/>
                        <a14:foregroundMark x1="82297" y1="48798" x2="97703" y2="48798"/>
                        <a14:foregroundMark x1="40000" y1="31971" x2="54189" y2="38702"/>
                        <a14:foregroundMark x1="5811" y1="21875" x2="2838" y2="34856"/>
                        <a14:foregroundMark x1="2838" y1="34856" x2="2838" y2="48317"/>
                        <a14:foregroundMark x1="2838" y1="48317" x2="6757" y2="59375"/>
                        <a14:foregroundMark x1="6757" y1="59375" x2="7297" y2="59615"/>
                        <a14:foregroundMark x1="3378" y1="27404" x2="2027" y2="39663"/>
                        <a14:foregroundMark x1="2027" y1="39663" x2="3514" y2="51923"/>
                        <a14:foregroundMark x1="3514" y1="51923" x2="4459" y2="54327"/>
                        <a14:foregroundMark x1="40000" y1="48077" x2="81081" y2="48077"/>
                        <a14:foregroundMark x1="37838" y1="30288" x2="43649" y2="24038"/>
                        <a14:foregroundMark x1="43649" y1="24038" x2="50811" y2="24760"/>
                        <a14:foregroundMark x1="50811" y1="24760" x2="73378" y2="22115"/>
                        <a14:foregroundMark x1="73378" y1="22115" x2="94865" y2="23798"/>
                        <a14:foregroundMark x1="94865" y1="23798" x2="98649" y2="49279"/>
                        <a14:foregroundMark x1="98649" y1="49279" x2="94595" y2="59856"/>
                        <a14:foregroundMark x1="94595" y1="59856" x2="81081" y2="61298"/>
                        <a14:foregroundMark x1="81081" y1="61298" x2="74324" y2="55529"/>
                        <a14:foregroundMark x1="74324" y1="55529" x2="66757" y2="53365"/>
                        <a14:foregroundMark x1="66757" y1="53365" x2="43784" y2="58173"/>
                        <a14:foregroundMark x1="43784" y1="58173" x2="38108" y2="50721"/>
                        <a14:foregroundMark x1="38108" y1="50721" x2="37027" y2="30529"/>
                        <a14:backgroundMark x1="31081" y1="19471" x2="38108" y2="20673"/>
                        <a14:backgroundMark x1="38108" y1="20673" x2="39189" y2="2163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624" y="6233421"/>
            <a:ext cx="1131146" cy="6245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69940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>
            <a:extLst>
              <a:ext uri="{FF2B5EF4-FFF2-40B4-BE49-F238E27FC236}">
                <a16:creationId xmlns:a16="http://schemas.microsoft.com/office/drawing/2014/main" id="{B5841F1B-4504-0E43-818D-A592EF13E92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alphaModFix amt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44723" y="0"/>
            <a:ext cx="6555474" cy="6365290"/>
          </a:xfrm>
          <a:prstGeom prst="rect">
            <a:avLst/>
          </a:prstGeom>
        </p:spPr>
      </p:pic>
      <p:sp>
        <p:nvSpPr>
          <p:cNvPr id="19" name="Subtitle 2">
            <a:extLst>
              <a:ext uri="{FF2B5EF4-FFF2-40B4-BE49-F238E27FC236}">
                <a16:creationId xmlns:a16="http://schemas.microsoft.com/office/drawing/2014/main" id="{FB27D012-A4F8-BA49-A380-23B882DF962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80791" y="4224271"/>
            <a:ext cx="3745970" cy="328101"/>
          </a:xfrm>
          <a:prstGeom prst="rect">
            <a:avLst/>
          </a:prstGeom>
        </p:spPr>
        <p:txBody>
          <a:bodyPr anchor="b">
            <a:normAutofit lnSpcReduction="10000"/>
          </a:bodyPr>
          <a:lstStyle>
            <a:lvl1pPr marL="0" indent="0">
              <a:buNone/>
              <a:defRPr/>
            </a:lvl1pPr>
          </a:lstStyle>
          <a:p>
            <a:pPr algn="l"/>
            <a:endParaRPr lang="en-US" sz="1400">
              <a:cs typeface="Calibri" panose="020F050202020403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DE682AD-EAEA-2548-9622-F1691EF30534}"/>
              </a:ext>
            </a:extLst>
          </p:cNvPr>
          <p:cNvSpPr/>
          <p:nvPr userDrawn="1"/>
        </p:nvSpPr>
        <p:spPr>
          <a:xfrm>
            <a:off x="0" y="6045959"/>
            <a:ext cx="12192000" cy="812704"/>
          </a:xfrm>
          <a:prstGeom prst="rect">
            <a:avLst/>
          </a:prstGeom>
          <a:solidFill>
            <a:srgbClr val="0A466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NC DHHS COVID-19 Respons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9DC0948-870B-1B43-B66F-5B19A0178C7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284" y="4664730"/>
            <a:ext cx="3330783" cy="12688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241279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D94B2A7-3C10-44C6-8E2C-D730D1BEF0B8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420625" y="969264"/>
            <a:ext cx="11350752" cy="1123384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defRPr sz="1600"/>
            </a:lvl1pPr>
            <a:lvl2pPr>
              <a:lnSpc>
                <a:spcPct val="100000"/>
              </a:lnSpc>
              <a:spcBef>
                <a:spcPts val="0"/>
              </a:spcBef>
              <a:defRPr sz="1600"/>
            </a:lvl2pPr>
            <a:lvl3pPr>
              <a:lnSpc>
                <a:spcPct val="100000"/>
              </a:lnSpc>
              <a:spcBef>
                <a:spcPts val="0"/>
              </a:spcBef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defRPr sz="1050"/>
            </a:lvl4pPr>
            <a:lvl5pPr>
              <a:lnSpc>
                <a:spcPct val="100000"/>
              </a:lnSpc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0624" y="185313"/>
            <a:ext cx="11350752" cy="592562"/>
          </a:xfrm>
          <a:prstGeom prst="rect">
            <a:avLst/>
          </a:prstGeom>
        </p:spPr>
        <p:txBody>
          <a:bodyPr lIns="0" rIns="0" anchor="ctr"/>
          <a:lstStyle>
            <a:lvl1pPr>
              <a:defRPr sz="2000" b="1" cap="all" spc="130" baseline="0">
                <a:solidFill>
                  <a:srgbClr val="014373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6E2F2300-FD7F-49A2-AD1C-882AD5CF52CC}"/>
              </a:ext>
            </a:extLst>
          </p:cNvPr>
          <p:cNvCxnSpPr>
            <a:cxnSpLocks/>
          </p:cNvCxnSpPr>
          <p:nvPr userDrawn="1"/>
        </p:nvCxnSpPr>
        <p:spPr>
          <a:xfrm>
            <a:off x="420624" y="777875"/>
            <a:ext cx="1371600" cy="0"/>
          </a:xfrm>
          <a:prstGeom prst="straightConnector1">
            <a:avLst/>
          </a:prstGeom>
          <a:noFill/>
          <a:ln w="38100" cap="flat" cmpd="sng" algn="ctr">
            <a:solidFill>
              <a:srgbClr val="01437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63175851-4D12-4852-84F5-C13C561B8F1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537"/>
          <a:stretch/>
        </p:blipFill>
        <p:spPr>
          <a:xfrm>
            <a:off x="420624" y="6229553"/>
            <a:ext cx="1131146" cy="518014"/>
          </a:xfrm>
          <a:prstGeom prst="rect">
            <a:avLst/>
          </a:prstGeom>
        </p:spPr>
      </p:pic>
      <p:sp>
        <p:nvSpPr>
          <p:cNvPr id="11" name="Holder 6">
            <a:extLst>
              <a:ext uri="{FF2B5EF4-FFF2-40B4-BE49-F238E27FC236}">
                <a16:creationId xmlns:a16="http://schemas.microsoft.com/office/drawing/2014/main" id="{183789D2-8A26-402D-8A27-DE00690B5BEC}"/>
              </a:ext>
            </a:extLst>
          </p:cNvPr>
          <p:cNvSpPr txBox="1">
            <a:spLocks/>
          </p:cNvSpPr>
          <p:nvPr userDrawn="1"/>
        </p:nvSpPr>
        <p:spPr>
          <a:xfrm>
            <a:off x="11352368" y="6411616"/>
            <a:ext cx="419008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500" b="0" i="0" kern="1200">
                <a:solidFill>
                  <a:srgbClr val="6F7072"/>
                </a:solidFill>
                <a:latin typeface="EYInterstate Light"/>
                <a:ea typeface="+mn-ea"/>
                <a:cs typeface="EYInterstate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049" algn="r"/>
            <a:fld id="{81D60167-4931-47E6-BA6A-407CBD079E47}" type="slidenum">
              <a:rPr lang="en-US" sz="999" smtClean="0">
                <a:solidFill>
                  <a:srgbClr val="808080"/>
                </a:solidFill>
                <a:latin typeface="+mn-lt"/>
              </a:rPr>
              <a:pPr marL="19049" algn="r"/>
              <a:t>‹#›</a:t>
            </a:fld>
            <a:endParaRPr lang="en-US" sz="999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2540896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20623" y="185313"/>
            <a:ext cx="11350753" cy="592562"/>
          </a:xfrm>
          <a:prstGeom prst="rect">
            <a:avLst/>
          </a:prstGeom>
        </p:spPr>
        <p:txBody>
          <a:bodyPr lIns="0" rIns="0" anchor="ctr"/>
          <a:lstStyle>
            <a:lvl1pPr>
              <a:defRPr sz="2000" b="1" cap="all" spc="130" baseline="0">
                <a:solidFill>
                  <a:srgbClr val="014373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6E2F2300-FD7F-49A2-AD1C-882AD5CF52CC}"/>
              </a:ext>
            </a:extLst>
          </p:cNvPr>
          <p:cNvCxnSpPr>
            <a:cxnSpLocks/>
          </p:cNvCxnSpPr>
          <p:nvPr userDrawn="1"/>
        </p:nvCxnSpPr>
        <p:spPr>
          <a:xfrm>
            <a:off x="420624" y="777875"/>
            <a:ext cx="1371600" cy="0"/>
          </a:xfrm>
          <a:prstGeom prst="straightConnector1">
            <a:avLst/>
          </a:prstGeom>
          <a:noFill/>
          <a:ln w="38100" cap="flat" cmpd="sng" algn="ctr">
            <a:solidFill>
              <a:srgbClr val="014373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F9780461-BF97-45FF-888C-1942E648F7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537"/>
          <a:stretch/>
        </p:blipFill>
        <p:spPr>
          <a:xfrm>
            <a:off x="420624" y="6229553"/>
            <a:ext cx="1131146" cy="518014"/>
          </a:xfrm>
          <a:prstGeom prst="rect">
            <a:avLst/>
          </a:prstGeom>
        </p:spPr>
      </p:pic>
      <p:sp>
        <p:nvSpPr>
          <p:cNvPr id="11" name="Holder 6">
            <a:extLst>
              <a:ext uri="{FF2B5EF4-FFF2-40B4-BE49-F238E27FC236}">
                <a16:creationId xmlns:a16="http://schemas.microsoft.com/office/drawing/2014/main" id="{4BB176CF-EDF3-48AF-914B-97F5C5946B35}"/>
              </a:ext>
            </a:extLst>
          </p:cNvPr>
          <p:cNvSpPr txBox="1">
            <a:spLocks/>
          </p:cNvSpPr>
          <p:nvPr userDrawn="1"/>
        </p:nvSpPr>
        <p:spPr>
          <a:xfrm>
            <a:off x="11352368" y="6411616"/>
            <a:ext cx="419008" cy="153888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500" b="0" i="0" kern="1200">
                <a:solidFill>
                  <a:srgbClr val="6F7072"/>
                </a:solidFill>
                <a:latin typeface="EYInterstate Light"/>
                <a:ea typeface="+mn-ea"/>
                <a:cs typeface="EYInterstate Light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9049" algn="r"/>
            <a:fld id="{81D60167-4931-47E6-BA6A-407CBD079E47}" type="slidenum">
              <a:rPr lang="en-US" sz="999" smtClean="0">
                <a:solidFill>
                  <a:srgbClr val="808080"/>
                </a:solidFill>
                <a:latin typeface="+mn-lt"/>
              </a:rPr>
              <a:pPr marL="19049" algn="r"/>
              <a:t>‹#›</a:t>
            </a:fld>
            <a:endParaRPr lang="en-US" sz="999">
              <a:solidFill>
                <a:srgbClr val="808080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99895484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6DB91E-BD9D-357B-B8DC-157F08A779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A95DA28-EDEA-2229-4F3B-B2A96771398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5235660-ABD8-FFB1-3CAF-D194ECDA99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405A0D-8217-6E45-9F64-4D20AAF89ABB}" type="datetimeFigureOut">
              <a:rPr lang="en-US" smtClean="0"/>
              <a:t>12/2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C514E20-D2D1-9E67-9170-DD05C6BD0A0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F4D735E-22D5-7E9E-2157-E6FA3E0FAB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03374D-9244-7547-A2DD-8DAC6B1CD6F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73617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8AA42F-2BC7-AA6C-CF8E-D422E53BFA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DC8C40-DC20-ADB9-6ACA-238C7979BF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DEEDD41-13D1-33F2-E6AE-B88F2D80A9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5D3E76-832D-394F-AC0D-8AB3C0598EF8}" type="datetimeFigureOut">
              <a:rPr lang="en-US" smtClean="0"/>
              <a:t>12/2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B02E6A2-9AA5-A365-9AD5-D3684E8D9C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6FA59B6-A7BF-1B49-BD78-B749507EBEA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FA747F-21C8-1C4D-9A04-AECE3CEC65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941021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E72CE9-7BEC-C69F-392C-B9BD0E3ABD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4E56747-E336-B963-EEF2-57D235797C86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DFB1403-118C-D16D-9FB6-422F442F62B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30BA60A-8492-08C9-4AD3-618F694D88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5D3E76-832D-394F-AC0D-8AB3C0598EF8}" type="datetimeFigureOut">
              <a:rPr lang="en-US" smtClean="0"/>
              <a:t>12/20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2374F36-1C10-95A2-FC7E-F40B8E2F0C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A1C6461-09A6-8F5C-700C-3FA021A2E9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FA747F-21C8-1C4D-9A04-AECE3CEC65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42990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9BD132-62B6-63C4-8112-B6BDB87DE6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F46BCE-53C5-D122-5A63-6D3A8A48780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70EC691-0096-0AC1-0D50-2A5F3A57195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04A98B5-1330-DC33-7F92-FD447A1C525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80E4214-5951-4797-4B85-657EDAAE98F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FAA4B1A-838E-FAD7-13A7-F0307A3E31E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5D3E76-832D-394F-AC0D-8AB3C0598EF8}" type="datetimeFigureOut">
              <a:rPr lang="en-US" smtClean="0"/>
              <a:t>12/20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1D400BE-C141-CB73-C11A-86A7857626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76B4019-BC7A-607B-0FC5-B5495B41ED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FA747F-21C8-1C4D-9A04-AECE3CEC65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5913934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0E05D5-FDE3-F127-5F4E-BB45B42873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67A6E6E-9BE7-DAC4-73AC-D6C42808E3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5D3E76-832D-394F-AC0D-8AB3C0598EF8}" type="datetimeFigureOut">
              <a:rPr lang="en-US" smtClean="0"/>
              <a:t>12/20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C741BAE-342C-8A6E-CA16-5C21CA087C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25A6DBC-65E0-9240-D04E-36BA6F8E4C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FA747F-21C8-1C4D-9A04-AECE3CEC65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7693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CE40D03-3010-8CDE-D0FE-BB23260DE7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5D3E76-832D-394F-AC0D-8AB3C0598EF8}" type="datetimeFigureOut">
              <a:rPr lang="en-US" smtClean="0"/>
              <a:t>12/20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187DB14-352B-AE50-CA59-E601351326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40EA31B-70D9-9345-9248-21E7867E1C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FA747F-21C8-1C4D-9A04-AECE3CEC65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61689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29201B7-B22F-8B11-0317-0F7049675B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38EC979-BE4C-AFF9-6A8A-3BE8F4CB3C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C55358F-7B54-BBF8-C528-F4E9F4E4DB5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2FCA06F-34CB-8B48-76A4-8FBA189974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5D3E76-832D-394F-AC0D-8AB3C0598EF8}" type="datetimeFigureOut">
              <a:rPr lang="en-US" smtClean="0"/>
              <a:t>12/20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C0F628-6D56-D1B2-6452-F98C6E5B9F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CF96C031-EBA7-73CC-B26F-0C10F0118E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FA747F-21C8-1C4D-9A04-AECE3CEC65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96122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9B4AE3-FE74-B86B-418A-F314F1D360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0DE613B-B8EF-5179-1975-8AA88F875A4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2FDB20F-FAF8-06D4-E3D0-7B38B5EB4ED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58BC39B-5794-755F-08A4-580F2BAD770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5D3E76-832D-394F-AC0D-8AB3C0598EF8}" type="datetimeFigureOut">
              <a:rPr lang="en-US" smtClean="0"/>
              <a:t>12/20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C1A38C6-8A70-F15A-E347-7A1376669C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67C7860-1A6A-6628-5F94-D00B9E2339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FA747F-21C8-1C4D-9A04-AECE3CEC65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23242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tags" Target="../tags/tag1.xml"/><Relationship Id="rId3" Type="http://schemas.openxmlformats.org/officeDocument/2006/relationships/slideLayout" Target="../slideLayouts/slideLayout15.xml"/><Relationship Id="rId21" Type="http://schemas.openxmlformats.org/officeDocument/2006/relationships/image" Target="../media/image2.emf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oleObject" Target="../embeddings/oleObject1.bin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2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1DF5D33-5957-E61D-BC24-D6A292E34D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85FFA24-A6AA-6026-3977-EF70A21B64A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9A030EC-070B-9709-2222-5F2F9069C1F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5D3E76-832D-394F-AC0D-8AB3C0598EF8}" type="datetimeFigureOut">
              <a:rPr lang="en-US" smtClean="0"/>
              <a:t>12/2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BA9B192-26F1-24DF-9057-E8C3E9BF41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93749A7-488A-792C-C6B0-B1E0F1AC35D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FA747F-21C8-1C4D-9A04-AECE3CEC65B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2552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40759434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sz="3600" b="1">
              <a:solidFill>
                <a:srgbClr val="FFFFFF"/>
              </a:solidFill>
              <a:sym typeface="Calibri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466024" y="6367369"/>
            <a:ext cx="144963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 i="0">
                <a:solidFill>
                  <a:srgbClr val="01437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1F27F3A-B3E9-41ED-AF8F-A365F10BB65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55137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600" b="0" i="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576263" indent="-233363" algn="l" defTabSz="685800" rtl="0" eaLnBrk="1" latinLnBrk="0" hangingPunct="1">
        <a:lnSpc>
          <a:spcPct val="90000"/>
        </a:lnSpc>
        <a:spcBef>
          <a:spcPts val="375"/>
        </a:spcBef>
        <a:buFont typeface="Franklin Gothic Medium" panose="020B0603020102020204" pitchFamily="34" charset="0"/>
        <a:buChar char="–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Franklin Gothic Medium" panose="020B0603020102020204" pitchFamily="34" charset="0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8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7.emf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9.png"/><Relationship Id="rId4" Type="http://schemas.openxmlformats.org/officeDocument/2006/relationships/notesSlide" Target="../notesSlides/notesSlide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209E9E-BC3D-7175-87F7-3506D556ECE0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AA 621 Finances (FY 24)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52DAD720-7722-72C6-BFF6-E83770F87E6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0840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1AD8B6-DC17-4AC7-BA93-8DD093B259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2200"/>
              <a:t>LHD by NCALHD region (proposed 2-year funding for AA 621)</a:t>
            </a:r>
            <a:endParaRPr lang="en-US" sz="2200">
              <a:cs typeface="Calibri"/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4E6FB14-280E-4F25-9630-81F6CD597F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59" imgH="360" progId="TCLayout.ActiveDocument.1">
                  <p:embed/>
                </p:oleObj>
              </mc:Choice>
              <mc:Fallback>
                <p:oleObj name="think-cell Slide" r:id="rId5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4E6FB14-280E-4F25-9630-81F6CD597F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E78AC4F-5D5B-49D0-B7E7-2CC76423E0E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1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252" name="Table 252">
            <a:extLst>
              <a:ext uri="{FF2B5EF4-FFF2-40B4-BE49-F238E27FC236}">
                <a16:creationId xmlns:a16="http://schemas.microsoft.com/office/drawing/2014/main" id="{B192C1F7-77BA-4853-A023-1C4F4633583C}"/>
              </a:ext>
            </a:extLst>
          </p:cNvPr>
          <p:cNvGraphicFramePr>
            <a:graphicFrameLocks noGrp="1"/>
          </p:cNvGraphicFramePr>
          <p:nvPr/>
        </p:nvGraphicFramePr>
        <p:xfrm>
          <a:off x="693549" y="2161486"/>
          <a:ext cx="5157665" cy="3855745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3773955">
                  <a:extLst>
                    <a:ext uri="{9D8B030D-6E8A-4147-A177-3AD203B41FA5}">
                      <a16:colId xmlns:a16="http://schemas.microsoft.com/office/drawing/2014/main" val="4242399806"/>
                    </a:ext>
                  </a:extLst>
                </a:gridCol>
                <a:gridCol w="1383710">
                  <a:extLst>
                    <a:ext uri="{9D8B030D-6E8A-4147-A177-3AD203B41FA5}">
                      <a16:colId xmlns:a16="http://schemas.microsoft.com/office/drawing/2014/main" val="2167890056"/>
                    </a:ext>
                  </a:extLst>
                </a:gridCol>
              </a:tblGrid>
              <a:tr h="302934">
                <a:tc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solidFill>
                            <a:schemeClr val="bg1"/>
                          </a:solidFill>
                        </a:rPr>
                        <a:t>REGION: Regional Lead LH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solidFill>
                            <a:schemeClr val="bg1"/>
                          </a:solidFill>
                        </a:rPr>
                        <a:t>TOTAL FUNDING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6213087"/>
                  </a:ext>
                </a:extLst>
              </a:tr>
              <a:tr h="318011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Region 1: Transylvani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$1,000,000.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5762883"/>
                  </a:ext>
                </a:extLst>
              </a:tr>
              <a:tr h="400709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Region 2: Foothills Health Distric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DDEBD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$1,550,947.3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0140207"/>
                  </a:ext>
                </a:extLst>
              </a:tr>
              <a:tr h="235711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bg1"/>
                          </a:solidFill>
                        </a:rPr>
                        <a:t>Region 3: App Healt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76F8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$1,678,839.4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2326336"/>
                  </a:ext>
                </a:extLst>
              </a:tr>
              <a:tr h="271782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Region 4: Cabarrus Health Allian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C1D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$3,265,772.3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9872296"/>
                  </a:ext>
                </a:extLst>
              </a:tr>
              <a:tr h="235711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Region 5: Guilfor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E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$2,350,272.2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336095"/>
                  </a:ext>
                </a:extLst>
              </a:tr>
              <a:tr h="235711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tx1"/>
                          </a:solidFill>
                        </a:rPr>
                        <a:t>Region 6: Cumberlan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8CFB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$1,997,254.4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544663"/>
                  </a:ext>
                </a:extLst>
              </a:tr>
              <a:tr h="352224">
                <a:tc>
                  <a:txBody>
                    <a:bodyPr/>
                    <a:lstStyle/>
                    <a:p>
                      <a:r>
                        <a:rPr lang="en-US" sz="1400" b="1">
                          <a:solidFill>
                            <a:schemeClr val="bg1"/>
                          </a:solidFill>
                        </a:rPr>
                        <a:t>Region 7: Granville-Van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134263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$2,756,453.1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6546115"/>
                  </a:ext>
                </a:extLst>
              </a:tr>
              <a:tr h="235711">
                <a:tc>
                  <a:txBody>
                    <a:bodyPr/>
                    <a:lstStyle/>
                    <a:p>
                      <a:r>
                        <a:rPr lang="en-US" sz="1400" b="1">
                          <a:solidFill>
                            <a:schemeClr val="bg1"/>
                          </a:solidFill>
                        </a:rPr>
                        <a:t>Region 8: Duplin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6606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$2,084,304.6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0775737"/>
                  </a:ext>
                </a:extLst>
              </a:tr>
              <a:tr h="293324">
                <a:tc>
                  <a:txBody>
                    <a:bodyPr/>
                    <a:lstStyle/>
                    <a:p>
                      <a:r>
                        <a:rPr lang="en-US" sz="1400" b="1">
                          <a:solidFill>
                            <a:schemeClr val="tx1"/>
                          </a:solidFill>
                        </a:rPr>
                        <a:t>Region 9: Albemarle Regional Health Servic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BD3D9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$1,843,345.8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6694946"/>
                  </a:ext>
                </a:extLst>
              </a:tr>
              <a:tr h="346401">
                <a:tc>
                  <a:txBody>
                    <a:bodyPr/>
                    <a:lstStyle/>
                    <a:p>
                      <a:r>
                        <a:rPr lang="en-US" sz="1400" b="1">
                          <a:solidFill>
                            <a:schemeClr val="tx1"/>
                          </a:solidFill>
                        </a:rPr>
                        <a:t>Region 10: Pitt Coun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$1,773,116.2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6732232"/>
                  </a:ext>
                </a:extLst>
              </a:tr>
              <a:tr h="235711">
                <a:tc>
                  <a:txBody>
                    <a:bodyPr/>
                    <a:lstStyle/>
                    <a:p>
                      <a:pPr algn="ctr"/>
                      <a:r>
                        <a:rPr lang="en-US" sz="1400" b="1">
                          <a:solidFill>
                            <a:schemeClr val="tx1"/>
                          </a:solidFill>
                        </a:rPr>
                        <a:t>TOT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$20,300,305.6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568176"/>
                  </a:ext>
                </a:extLst>
              </a:tr>
            </a:tbl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1379D788-EA0F-402B-AA9A-D792973735F1}"/>
              </a:ext>
            </a:extLst>
          </p:cNvPr>
          <p:cNvSpPr/>
          <p:nvPr/>
        </p:nvSpPr>
        <p:spPr>
          <a:xfrm>
            <a:off x="8639645" y="2161486"/>
            <a:ext cx="1838965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b="1"/>
              <a:t>NCALHD Regions </a:t>
            </a:r>
          </a:p>
        </p:txBody>
      </p:sp>
      <p:sp>
        <p:nvSpPr>
          <p:cNvPr id="236" name="TextBox 235">
            <a:extLst>
              <a:ext uri="{FF2B5EF4-FFF2-40B4-BE49-F238E27FC236}">
                <a16:creationId xmlns:a16="http://schemas.microsoft.com/office/drawing/2014/main" id="{DD8A7D8F-7AD1-4F71-9715-4852BA053CEA}"/>
              </a:ext>
            </a:extLst>
          </p:cNvPr>
          <p:cNvSpPr txBox="1"/>
          <p:nvPr/>
        </p:nvSpPr>
        <p:spPr>
          <a:xfrm>
            <a:off x="514757" y="941157"/>
            <a:ext cx="1115762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/>
              <a:t>Each region will receive the total funding amount in Year 1, but this is 2-year funding (ending June 30, 2023) with an anticipated no-cost-extensio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/>
              <a:t>Costs of assessment and state-provided trainings do </a:t>
            </a:r>
            <a:r>
              <a:rPr lang="en-US" sz="2000" b="1" i="1"/>
              <a:t>not</a:t>
            </a:r>
            <a:r>
              <a:rPr lang="en-US" sz="2000"/>
              <a:t> come from Region allocations </a:t>
            </a:r>
          </a:p>
        </p:txBody>
      </p:sp>
      <p:pic>
        <p:nvPicPr>
          <p:cNvPr id="261" name="Picture 260">
            <a:extLst>
              <a:ext uri="{FF2B5EF4-FFF2-40B4-BE49-F238E27FC236}">
                <a16:creationId xmlns:a16="http://schemas.microsoft.com/office/drawing/2014/main" id="{B5D6FEE3-3878-4A3E-985B-CF478592A69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963735" y="2641271"/>
            <a:ext cx="6015932" cy="32786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591531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17AB3BCE-4C59-270A-539F-E666F89DB54D}"/>
              </a:ext>
            </a:extLst>
          </p:cNvPr>
          <p:cNvGrpSpPr/>
          <p:nvPr/>
        </p:nvGrpSpPr>
        <p:grpSpPr>
          <a:xfrm>
            <a:off x="6070613" y="-1582"/>
            <a:ext cx="6233778" cy="2339834"/>
            <a:chOff x="6070613" y="-1582"/>
            <a:chExt cx="6233778" cy="2339834"/>
          </a:xfrm>
        </p:grpSpPr>
        <p:pic>
          <p:nvPicPr>
            <p:cNvPr id="5" name="Picture 5">
              <a:extLst>
                <a:ext uri="{FF2B5EF4-FFF2-40B4-BE49-F238E27FC236}">
                  <a16:creationId xmlns:a16="http://schemas.microsoft.com/office/drawing/2014/main" id="{DFF81E42-AD29-A414-DC68-007EEB0606D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03" r="2303" b="7836"/>
            <a:stretch/>
          </p:blipFill>
          <p:spPr>
            <a:xfrm>
              <a:off x="6070613" y="-1582"/>
              <a:ext cx="6233778" cy="2339834"/>
            </a:xfrm>
            <a:prstGeom prst="rect">
              <a:avLst/>
            </a:prstGeom>
          </p:spPr>
        </p:pic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AD0C12E3-F66C-CA1A-4A8F-CFC6AA48720D}"/>
                </a:ext>
              </a:extLst>
            </p:cNvPr>
            <p:cNvSpPr txBox="1"/>
            <p:nvPr/>
          </p:nvSpPr>
          <p:spPr>
            <a:xfrm>
              <a:off x="6984092" y="1126491"/>
              <a:ext cx="28575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ADC05EBB-26DE-60B9-6C54-AB981A73B3F4}"/>
                </a:ext>
              </a:extLst>
            </p:cNvPr>
            <p:cNvSpPr txBox="1"/>
            <p:nvPr/>
          </p:nvSpPr>
          <p:spPr>
            <a:xfrm>
              <a:off x="8601075" y="466363"/>
              <a:ext cx="28575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3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270F0AF-3360-7457-5517-E6EB9DAB6953}"/>
                </a:ext>
              </a:extLst>
            </p:cNvPr>
            <p:cNvSpPr txBox="1"/>
            <p:nvPr/>
          </p:nvSpPr>
          <p:spPr>
            <a:xfrm>
              <a:off x="7569502" y="941825"/>
              <a:ext cx="28575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CB2C0932-1218-6558-0C08-E663FAD1A0D7}"/>
                </a:ext>
              </a:extLst>
            </p:cNvPr>
            <p:cNvSpPr txBox="1"/>
            <p:nvPr/>
          </p:nvSpPr>
          <p:spPr>
            <a:xfrm>
              <a:off x="8383209" y="1058925"/>
              <a:ext cx="28575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4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60BC3EDE-1B91-597D-49E9-CFDCE7CB0F9B}"/>
                </a:ext>
              </a:extLst>
            </p:cNvPr>
            <p:cNvSpPr txBox="1"/>
            <p:nvPr/>
          </p:nvSpPr>
          <p:spPr>
            <a:xfrm>
              <a:off x="9188147" y="634944"/>
              <a:ext cx="28575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5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4A47F965-1E23-0D93-4BC6-4704A0802576}"/>
                </a:ext>
              </a:extLst>
            </p:cNvPr>
            <p:cNvSpPr txBox="1"/>
            <p:nvPr/>
          </p:nvSpPr>
          <p:spPr>
            <a:xfrm>
              <a:off x="9880135" y="722879"/>
              <a:ext cx="28575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7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F2D16407-03AF-D5B2-B332-0A81DEAF7769}"/>
                </a:ext>
              </a:extLst>
            </p:cNvPr>
            <p:cNvSpPr txBox="1"/>
            <p:nvPr/>
          </p:nvSpPr>
          <p:spPr>
            <a:xfrm>
              <a:off x="9187502" y="1249661"/>
              <a:ext cx="28575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6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F411A209-8E61-5BF6-300F-8C0C44C2700F}"/>
                </a:ext>
              </a:extLst>
            </p:cNvPr>
            <p:cNvSpPr txBox="1"/>
            <p:nvPr/>
          </p:nvSpPr>
          <p:spPr>
            <a:xfrm>
              <a:off x="9880135" y="1712544"/>
              <a:ext cx="28575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8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FDCD553A-9178-D5E5-BE55-CEF78DA4486D}"/>
                </a:ext>
              </a:extLst>
            </p:cNvPr>
            <p:cNvSpPr txBox="1"/>
            <p:nvPr/>
          </p:nvSpPr>
          <p:spPr>
            <a:xfrm>
              <a:off x="10624972" y="565029"/>
              <a:ext cx="28575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9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F4F3A945-EF1C-4956-E356-81BE344D4059}"/>
                </a:ext>
              </a:extLst>
            </p:cNvPr>
            <p:cNvSpPr txBox="1"/>
            <p:nvPr/>
          </p:nvSpPr>
          <p:spPr>
            <a:xfrm>
              <a:off x="10435847" y="1176830"/>
              <a:ext cx="4572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10</a:t>
              </a:r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D91AD8B6-DC17-4AC7-BA93-8DD093B259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0623" y="183949"/>
            <a:ext cx="11350753" cy="592562"/>
          </a:xfrm>
        </p:spPr>
        <p:txBody>
          <a:bodyPr>
            <a:normAutofit/>
          </a:bodyPr>
          <a:lstStyle/>
          <a:p>
            <a:r>
              <a:rPr lang="en-US" sz="1800" dirty="0"/>
              <a:t>ARPA Local PH Workforce Initiative AA 621 (FY24)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4E6FB14-280E-4F25-9630-81F6CD597F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59" imgH="360" progId="TCLayout.ActiveDocument.1">
                  <p:embed/>
                </p:oleObj>
              </mc:Choice>
              <mc:Fallback>
                <p:oleObj name="think-cell Slide" r:id="rId6" imgW="359" imgH="36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4E6FB14-280E-4F25-9630-81F6CD597F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7E78AC4F-5D5B-49D0-B7E7-2CC76423E0E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000" b="1" i="0" u="none" strike="noStrike" kern="1200" cap="none" spc="0" normalizeH="0" baseline="0" noProof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94" name="TextBox 293">
            <a:extLst>
              <a:ext uri="{FF2B5EF4-FFF2-40B4-BE49-F238E27FC236}">
                <a16:creationId xmlns:a16="http://schemas.microsoft.com/office/drawing/2014/main" id="{B3CC27FC-7E2E-47B2-89D9-2A4FF9FE8BB3}"/>
              </a:ext>
            </a:extLst>
          </p:cNvPr>
          <p:cNvSpPr txBox="1"/>
          <p:nvPr/>
        </p:nvSpPr>
        <p:spPr>
          <a:xfrm>
            <a:off x="-112778" y="858724"/>
            <a:ext cx="5592521" cy="61093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7429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he COVID-19 PH Workforce Grant supports regional efforts to recruit, hire, and train personnel to address projected COVID-19 response needs in the 10 NCALHD regions, including strengthening the Public Health Foundational Capabilities to address local public health priorities deriving from COVID‑19</a:t>
            </a:r>
          </a:p>
          <a:p>
            <a:pPr marL="4572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7429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Funding methodology: 50% per capita and 50% Social Vulnerability Index (SVI)  </a:t>
            </a:r>
          </a:p>
          <a:p>
            <a:pPr marL="7429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7429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Comprehensive budgets and work plans </a:t>
            </a:r>
            <a:r>
              <a:rPr lang="en-US" sz="17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were </a:t>
            </a: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developed to coincide with ARPA extension application for FY ’24 which received approval</a:t>
            </a:r>
          </a:p>
          <a:p>
            <a:pPr marL="457200"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7429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7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Additional component is the Care Management Pilot-Regions 8 &amp; 9 participating</a:t>
            </a:r>
          </a:p>
          <a:p>
            <a:pPr marL="7429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700" dirty="0">
              <a:solidFill>
                <a:prstClr val="black"/>
              </a:solid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7429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700" dirty="0">
                <a:solidFill>
                  <a:prstClr val="black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Funding Chart represents the amounts allocated for the entire project period</a:t>
            </a:r>
          </a:p>
          <a:p>
            <a:pPr marL="7429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457200"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7429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  <p:graphicFrame>
        <p:nvGraphicFramePr>
          <p:cNvPr id="260" name="Table 252">
            <a:extLst>
              <a:ext uri="{FF2B5EF4-FFF2-40B4-BE49-F238E27FC236}">
                <a16:creationId xmlns:a16="http://schemas.microsoft.com/office/drawing/2014/main" id="{BBE79409-6E8F-4B3A-ABEC-DE253051BB2D}"/>
              </a:ext>
            </a:extLst>
          </p:cNvPr>
          <p:cNvGraphicFramePr>
            <a:graphicFrameLocks noGrp="1"/>
          </p:cNvGraphicFramePr>
          <p:nvPr/>
        </p:nvGraphicFramePr>
        <p:xfrm>
          <a:off x="5541359" y="2584568"/>
          <a:ext cx="5376331" cy="4192722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3934923">
                  <a:extLst>
                    <a:ext uri="{9D8B030D-6E8A-4147-A177-3AD203B41FA5}">
                      <a16:colId xmlns:a16="http://schemas.microsoft.com/office/drawing/2014/main" val="4242399806"/>
                    </a:ext>
                  </a:extLst>
                </a:gridCol>
                <a:gridCol w="1441408">
                  <a:extLst>
                    <a:ext uri="{9D8B030D-6E8A-4147-A177-3AD203B41FA5}">
                      <a16:colId xmlns:a16="http://schemas.microsoft.com/office/drawing/2014/main" val="2167890056"/>
                    </a:ext>
                  </a:extLst>
                </a:gridCol>
              </a:tblGrid>
              <a:tr h="345952">
                <a:tc>
                  <a:txBody>
                    <a:bodyPr/>
                    <a:lstStyle/>
                    <a:p>
                      <a:pPr algn="ctr"/>
                      <a:r>
                        <a:rPr lang="en-US" sz="1500" b="1" dirty="0">
                          <a:solidFill>
                            <a:schemeClr val="bg1"/>
                          </a:solidFill>
                        </a:rPr>
                        <a:t>REGION: Regional Lead LHD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500" b="1">
                          <a:solidFill>
                            <a:schemeClr val="bg1"/>
                          </a:solidFill>
                        </a:rPr>
                        <a:t>FUNDING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6213087"/>
                  </a:ext>
                </a:extLst>
              </a:tr>
              <a:tr h="345952">
                <a:tc>
                  <a:txBody>
                    <a:bodyPr/>
                    <a:lstStyle/>
                    <a:p>
                      <a:r>
                        <a:rPr lang="en-US" sz="1500" b="1">
                          <a:solidFill>
                            <a:schemeClr val="tx1"/>
                          </a:solidFill>
                        </a:rPr>
                        <a:t>Region 1: Transylvani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b="1" dirty="0">
                          <a:solidFill>
                            <a:schemeClr val="tx1"/>
                          </a:solidFill>
                        </a:rPr>
                        <a:t>$1,000,000.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5762883"/>
                  </a:ext>
                </a:extLst>
              </a:tr>
              <a:tr h="402798">
                <a:tc>
                  <a:txBody>
                    <a:bodyPr/>
                    <a:lstStyle/>
                    <a:p>
                      <a:r>
                        <a:rPr lang="en-US" sz="1500" b="1" dirty="0">
                          <a:solidFill>
                            <a:schemeClr val="tx1"/>
                          </a:solidFill>
                        </a:rPr>
                        <a:t>Region 2: Foothills Health Distric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30B0B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500" b="1" dirty="0">
                          <a:solidFill>
                            <a:schemeClr val="tx1"/>
                          </a:solidFill>
                        </a:rPr>
                        <a:t>$1,550,947.3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0140207"/>
                  </a:ext>
                </a:extLst>
              </a:tr>
              <a:tr h="345952">
                <a:tc>
                  <a:txBody>
                    <a:bodyPr/>
                    <a:lstStyle/>
                    <a:p>
                      <a:r>
                        <a:rPr lang="en-US" sz="1500" b="1">
                          <a:solidFill>
                            <a:schemeClr val="bg1"/>
                          </a:solidFill>
                        </a:rPr>
                        <a:t>Region 3: App Health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76F8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$1,678,839.41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2326336"/>
                  </a:ext>
                </a:extLst>
              </a:tr>
              <a:tr h="345952">
                <a:tc>
                  <a:txBody>
                    <a:bodyPr/>
                    <a:lstStyle/>
                    <a:p>
                      <a:r>
                        <a:rPr lang="en-US" sz="1500" b="1">
                          <a:solidFill>
                            <a:schemeClr val="tx1"/>
                          </a:solidFill>
                        </a:rPr>
                        <a:t>Region 4: CHA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$3,265,772.35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09872296"/>
                  </a:ext>
                </a:extLst>
              </a:tr>
              <a:tr h="345952">
                <a:tc>
                  <a:txBody>
                    <a:bodyPr/>
                    <a:lstStyle/>
                    <a:p>
                      <a:r>
                        <a:rPr lang="en-US" sz="1500" b="1">
                          <a:solidFill>
                            <a:schemeClr val="tx1"/>
                          </a:solidFill>
                        </a:rPr>
                        <a:t>Region 5: Guilfor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3D7F5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$2,350,272.2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3336095"/>
                  </a:ext>
                </a:extLst>
              </a:tr>
              <a:tr h="345952">
                <a:tc>
                  <a:txBody>
                    <a:bodyPr/>
                    <a:lstStyle/>
                    <a:p>
                      <a:r>
                        <a:rPr lang="en-US" sz="1500" b="1">
                          <a:solidFill>
                            <a:schemeClr val="tx1"/>
                          </a:solidFill>
                        </a:rPr>
                        <a:t>Region 6: Cumberland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$1,997,254.4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3544663"/>
                  </a:ext>
                </a:extLst>
              </a:tr>
              <a:tr h="354062">
                <a:tc>
                  <a:txBody>
                    <a:bodyPr/>
                    <a:lstStyle/>
                    <a:p>
                      <a:r>
                        <a:rPr lang="en-US" sz="1500" b="1">
                          <a:solidFill>
                            <a:schemeClr val="tx1"/>
                          </a:solidFill>
                        </a:rPr>
                        <a:t>Region 7: Granville-Vanc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$2,756,453.14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6546115"/>
                  </a:ext>
                </a:extLst>
              </a:tr>
              <a:tr h="345952">
                <a:tc>
                  <a:txBody>
                    <a:bodyPr/>
                    <a:lstStyle/>
                    <a:p>
                      <a:r>
                        <a:rPr lang="en-US" sz="1500" b="1">
                          <a:solidFill>
                            <a:schemeClr val="bg1"/>
                          </a:solidFill>
                        </a:rPr>
                        <a:t>Region 8: Duplin 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93338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$2,449,304.6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90775737"/>
                  </a:ext>
                </a:extLst>
              </a:tr>
              <a:tr h="345952">
                <a:tc>
                  <a:txBody>
                    <a:bodyPr/>
                    <a:lstStyle/>
                    <a:p>
                      <a:r>
                        <a:rPr lang="en-US" sz="1500" b="1">
                          <a:solidFill>
                            <a:schemeClr val="tx1"/>
                          </a:solidFill>
                        </a:rPr>
                        <a:t>Region 9: Albemarle Regional Health Services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$2,193,345.8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06694946"/>
                  </a:ext>
                </a:extLst>
              </a:tr>
              <a:tr h="348206">
                <a:tc>
                  <a:txBody>
                    <a:bodyPr/>
                    <a:lstStyle/>
                    <a:p>
                      <a:r>
                        <a:rPr lang="en-US" sz="1500" b="1" dirty="0">
                          <a:solidFill>
                            <a:schemeClr val="tx1"/>
                          </a:solidFill>
                        </a:rPr>
                        <a:t>Region 10: Pitt Count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F876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$1,773,116.2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46732232"/>
                  </a:ext>
                </a:extLst>
              </a:tr>
              <a:tr h="309312">
                <a:tc>
                  <a:txBody>
                    <a:bodyPr/>
                    <a:lstStyle/>
                    <a:p>
                      <a:pPr algn="ctr"/>
                      <a:r>
                        <a:rPr lang="en-US" sz="1500" b="1">
                          <a:solidFill>
                            <a:schemeClr val="tx1"/>
                          </a:solidFill>
                        </a:rPr>
                        <a:t>TOT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5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Calibri" panose="020F0502020204030204"/>
                          <a:ea typeface="+mn-ea"/>
                          <a:cs typeface="+mn-cs"/>
                        </a:rPr>
                        <a:t>$21,015,305.6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56817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4859284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B2DED3-1AB6-E03E-AEC4-4E3972BD5D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45720" rIns="0" bIns="45720" anchor="ctr"/>
          <a:lstStyle/>
          <a:p>
            <a:r>
              <a:rPr lang="en-US" dirty="0">
                <a:cs typeface="Arial"/>
              </a:rPr>
              <a:t>AA 621 Regional Workforce Spending – Cumulative with Encumbered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69359DD-B79E-6635-2B23-C1756471E928}"/>
              </a:ext>
            </a:extLst>
          </p:cNvPr>
          <p:cNvSpPr txBox="1"/>
          <p:nvPr/>
        </p:nvSpPr>
        <p:spPr>
          <a:xfrm>
            <a:off x="2418915" y="6011545"/>
            <a:ext cx="7354167" cy="5232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/>
                <a:ea typeface="+mn-ea"/>
                <a:cs typeface="+mn-cs"/>
              </a:rPr>
              <a:t>Data as of the Sept ATC Report – 9-20-2023 &amp; based on Regional Spending Plan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/>
                <a:ea typeface="+mn-ea"/>
                <a:cs typeface="+mn-cs"/>
              </a:rPr>
              <a:t>Includes Care Mgmt. Pilot Funds – Regions 8 &amp; 9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 pitchFamily="34" charset="0"/>
              <a:ea typeface="+mn-ea"/>
              <a:cs typeface="+mn-cs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129B3E5F-0A93-D7FF-44A0-37DFB594A3E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42300870"/>
              </p:ext>
            </p:extLst>
          </p:nvPr>
        </p:nvGraphicFramePr>
        <p:xfrm>
          <a:off x="774382" y="1003300"/>
          <a:ext cx="10787698" cy="4741545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3599761">
                  <a:extLst>
                    <a:ext uri="{9D8B030D-6E8A-4147-A177-3AD203B41FA5}">
                      <a16:colId xmlns:a16="http://schemas.microsoft.com/office/drawing/2014/main" val="970267039"/>
                    </a:ext>
                  </a:extLst>
                </a:gridCol>
                <a:gridCol w="1822729">
                  <a:extLst>
                    <a:ext uri="{9D8B030D-6E8A-4147-A177-3AD203B41FA5}">
                      <a16:colId xmlns:a16="http://schemas.microsoft.com/office/drawing/2014/main" val="544360071"/>
                    </a:ext>
                  </a:extLst>
                </a:gridCol>
                <a:gridCol w="1513792">
                  <a:extLst>
                    <a:ext uri="{9D8B030D-6E8A-4147-A177-3AD203B41FA5}">
                      <a16:colId xmlns:a16="http://schemas.microsoft.com/office/drawing/2014/main" val="3175782710"/>
                    </a:ext>
                  </a:extLst>
                </a:gridCol>
                <a:gridCol w="1359323">
                  <a:extLst>
                    <a:ext uri="{9D8B030D-6E8A-4147-A177-3AD203B41FA5}">
                      <a16:colId xmlns:a16="http://schemas.microsoft.com/office/drawing/2014/main" val="2693905226"/>
                    </a:ext>
                  </a:extLst>
                </a:gridCol>
                <a:gridCol w="1455773">
                  <a:extLst>
                    <a:ext uri="{9D8B030D-6E8A-4147-A177-3AD203B41FA5}">
                      <a16:colId xmlns:a16="http://schemas.microsoft.com/office/drawing/2014/main" val="2740183274"/>
                    </a:ext>
                  </a:extLst>
                </a:gridCol>
                <a:gridCol w="1036320">
                  <a:extLst>
                    <a:ext uri="{9D8B030D-6E8A-4147-A177-3AD203B41FA5}">
                      <a16:colId xmlns:a16="http://schemas.microsoft.com/office/drawing/2014/main" val="4188136497"/>
                    </a:ext>
                  </a:extLst>
                </a:gridCol>
              </a:tblGrid>
              <a:tr h="355219"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LHD Regional Leads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Budgeted Amount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Total Spent</a:t>
                      </a:r>
                      <a:endParaRPr lang="en-US" sz="14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Percent Spent (ATC)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Encumbered &amp; Obligated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Percent </a:t>
                      </a:r>
                      <a:r>
                        <a:rPr lang="en-US" sz="1400" kern="1200" dirty="0" err="1">
                          <a:effectLst/>
                        </a:rPr>
                        <a:t>Spent+E</a:t>
                      </a:r>
                      <a:r>
                        <a:rPr lang="en-US" sz="1400" kern="1200" dirty="0">
                          <a:effectLst/>
                        </a:rPr>
                        <a:t>/O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782356465"/>
                  </a:ext>
                </a:extLst>
              </a:tr>
              <a:tr h="355219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Region 1-Transylvania County Department of Public Health</a:t>
                      </a:r>
                      <a:endParaRPr lang="en-US" sz="14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$1,000,000.00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$560,635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51.8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481,97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100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235689938"/>
                  </a:ext>
                </a:extLst>
              </a:tr>
              <a:tr h="316865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Region 2-Foothills Health District</a:t>
                      </a:r>
                      <a:endParaRPr lang="en-US" sz="14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$1,550,947.00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781,75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40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effectLst/>
                        </a:rPr>
                        <a:t>$769,19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100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904684708"/>
                  </a:ext>
                </a:extLst>
              </a:tr>
              <a:tr h="340201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Region 3-Appalachian District Health Department</a:t>
                      </a:r>
                      <a:endParaRPr lang="en-US" sz="14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$1,678,839.00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1,012,53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58.3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774,56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100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92721073"/>
                  </a:ext>
                </a:extLst>
              </a:tr>
              <a:tr h="316865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Region 4-Cabarrus Health Alliance</a:t>
                      </a:r>
                      <a:endParaRPr lang="en-US" sz="14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$3,265,772.00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1,820,53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51.3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effectLst/>
                        </a:rPr>
                        <a:t>$1,445,24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100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865568523"/>
                  </a:ext>
                </a:extLst>
              </a:tr>
              <a:tr h="336042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Region 5-Guilford County Division of Public Health</a:t>
                      </a:r>
                      <a:endParaRPr lang="en-US" sz="14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$2,350,272.00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866,42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30.4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1,403,48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97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90942368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Region 6-Cumberland County Health Department</a:t>
                      </a:r>
                      <a:endParaRPr lang="en-US" sz="14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$1,997,255.00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657,38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28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1,289,87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97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382895115"/>
                  </a:ext>
                </a:extLst>
              </a:tr>
              <a:tr h="345567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Region 7-Granville-Vance Public Health</a:t>
                      </a:r>
                      <a:endParaRPr lang="en-US" sz="14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$2,756,453.00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1,277,68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43.3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1,464,91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99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896048347"/>
                  </a:ext>
                </a:extLst>
              </a:tr>
              <a:tr h="336042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Region 8-Duplin County Health Department</a:t>
                      </a:r>
                      <a:endParaRPr lang="en-US" sz="14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$2,449,305.00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815,28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32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1,547,01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96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979595977"/>
                  </a:ext>
                </a:extLst>
              </a:tr>
              <a:tr h="288036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Region 9-Albemarle Regional Health Services</a:t>
                      </a:r>
                      <a:endParaRPr lang="en-US" sz="14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$2,193,346.00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US" sz="14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$1,185,71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52.3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1,007,63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100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395438365"/>
                  </a:ext>
                </a:extLst>
              </a:tr>
              <a:tr h="355219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Region 10-Pitt County Health Department</a:t>
                      </a:r>
                      <a:endParaRPr lang="en-US" sz="14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$1,773,116.00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313,42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effectLst/>
                        </a:rPr>
                        <a:t>15.5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</a:t>
                      </a:r>
                      <a:r>
                        <a:rPr lang="en-US" sz="1400" i="1" dirty="0">
                          <a:effectLst/>
                        </a:rPr>
                        <a:t>1,418,71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98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2390883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14694615"/>
                  </a:ext>
                </a:extLst>
              </a:tr>
              <a:tr h="297307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Grand Total</a:t>
                      </a:r>
                      <a:endParaRPr lang="en-US" sz="14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$21,015,305.00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9,291,38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44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11,602,59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99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8992963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253635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B2DED3-1AB6-E03E-AEC4-4E3972BD5D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45720" rIns="0" bIns="45720" anchor="ctr"/>
          <a:lstStyle/>
          <a:p>
            <a:r>
              <a:rPr lang="en-US" dirty="0">
                <a:cs typeface="Arial"/>
              </a:rPr>
              <a:t>AA 621 Regional Workforce Spending – Cumulative with Encumbered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69359DD-B79E-6635-2B23-C1756471E928}"/>
              </a:ext>
            </a:extLst>
          </p:cNvPr>
          <p:cNvSpPr txBox="1"/>
          <p:nvPr/>
        </p:nvSpPr>
        <p:spPr>
          <a:xfrm>
            <a:off x="2418915" y="6011545"/>
            <a:ext cx="7354167" cy="5232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/>
                <a:ea typeface="+mn-ea"/>
                <a:cs typeface="+mn-cs"/>
              </a:rPr>
              <a:t>Data as of the October ATC Report – 10-17-2023 &amp; based on Regional Spending Plan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/>
                <a:ea typeface="+mn-ea"/>
                <a:cs typeface="+mn-cs"/>
              </a:rPr>
              <a:t>Includes Care Mgmt. Pilot Funds – Regions 8 &amp; 9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 pitchFamily="34" charset="0"/>
              <a:ea typeface="+mn-ea"/>
              <a:cs typeface="+mn-cs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129B3E5F-0A93-D7FF-44A0-37DFB594A3E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96525483"/>
              </p:ext>
            </p:extLst>
          </p:nvPr>
        </p:nvGraphicFramePr>
        <p:xfrm>
          <a:off x="774382" y="1003300"/>
          <a:ext cx="10273523" cy="4741545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3599761">
                  <a:extLst>
                    <a:ext uri="{9D8B030D-6E8A-4147-A177-3AD203B41FA5}">
                      <a16:colId xmlns:a16="http://schemas.microsoft.com/office/drawing/2014/main" val="970267039"/>
                    </a:ext>
                  </a:extLst>
                </a:gridCol>
                <a:gridCol w="1822729">
                  <a:extLst>
                    <a:ext uri="{9D8B030D-6E8A-4147-A177-3AD203B41FA5}">
                      <a16:colId xmlns:a16="http://schemas.microsoft.com/office/drawing/2014/main" val="544360071"/>
                    </a:ext>
                  </a:extLst>
                </a:gridCol>
                <a:gridCol w="999617">
                  <a:extLst>
                    <a:ext uri="{9D8B030D-6E8A-4147-A177-3AD203B41FA5}">
                      <a16:colId xmlns:a16="http://schemas.microsoft.com/office/drawing/2014/main" val="3175782710"/>
                    </a:ext>
                  </a:extLst>
                </a:gridCol>
                <a:gridCol w="1359323">
                  <a:extLst>
                    <a:ext uri="{9D8B030D-6E8A-4147-A177-3AD203B41FA5}">
                      <a16:colId xmlns:a16="http://schemas.microsoft.com/office/drawing/2014/main" val="2693905226"/>
                    </a:ext>
                  </a:extLst>
                </a:gridCol>
                <a:gridCol w="1455773">
                  <a:extLst>
                    <a:ext uri="{9D8B030D-6E8A-4147-A177-3AD203B41FA5}">
                      <a16:colId xmlns:a16="http://schemas.microsoft.com/office/drawing/2014/main" val="2740183274"/>
                    </a:ext>
                  </a:extLst>
                </a:gridCol>
                <a:gridCol w="1036320">
                  <a:extLst>
                    <a:ext uri="{9D8B030D-6E8A-4147-A177-3AD203B41FA5}">
                      <a16:colId xmlns:a16="http://schemas.microsoft.com/office/drawing/2014/main" val="4188136497"/>
                    </a:ext>
                  </a:extLst>
                </a:gridCol>
              </a:tblGrid>
              <a:tr h="355219"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LHD Regional Leads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Budgeted Amount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Total Spent</a:t>
                      </a:r>
                      <a:endParaRPr lang="en-US" sz="14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Percent Spent (ATC)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Encumbered &amp; Obligated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Percent </a:t>
                      </a:r>
                      <a:r>
                        <a:rPr lang="en-US" sz="1400" kern="1200" dirty="0" err="1">
                          <a:effectLst/>
                        </a:rPr>
                        <a:t>Spent+E</a:t>
                      </a:r>
                      <a:r>
                        <a:rPr lang="en-US" sz="1400" kern="1200" dirty="0">
                          <a:effectLst/>
                        </a:rPr>
                        <a:t>/O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782356465"/>
                  </a:ext>
                </a:extLst>
              </a:tr>
              <a:tr h="355219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Region 1-Transylvania County Department of Public Health</a:t>
                      </a:r>
                      <a:endParaRPr lang="en-US" sz="14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$1,000,000.00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$606,633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61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393,36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100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235689938"/>
                  </a:ext>
                </a:extLst>
              </a:tr>
              <a:tr h="316865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Region 2-Foothills Health District</a:t>
                      </a:r>
                      <a:endParaRPr lang="en-US" sz="14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$1,550,947.00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812,43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52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effectLst/>
                        </a:rPr>
                        <a:t>$738,51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100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904684708"/>
                  </a:ext>
                </a:extLst>
              </a:tr>
              <a:tr h="340201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Region 3-Appalachian District Health Department</a:t>
                      </a:r>
                      <a:endParaRPr lang="en-US" sz="14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$1,678,839.00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1,057,99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63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620,84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100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92721073"/>
                  </a:ext>
                </a:extLst>
              </a:tr>
              <a:tr h="316865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Region 4-Cabarrus Health Alliance</a:t>
                      </a:r>
                      <a:endParaRPr lang="en-US" sz="14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$3,265,772.00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1,881,05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58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effectLst/>
                        </a:rPr>
                        <a:t>$1,384,71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100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865568523"/>
                  </a:ext>
                </a:extLst>
              </a:tr>
              <a:tr h="336042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Region 5-Guilford County Division of Public Health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$2,350,272.00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915,55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39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>
                          <a:effectLst/>
                        </a:rPr>
                        <a:t>$1,364,207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97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90942368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Region 6-Cumberland County Health Department</a:t>
                      </a:r>
                      <a:endParaRPr lang="en-US" sz="14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$1,997,255.00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724,27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36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1,213,06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97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382895115"/>
                  </a:ext>
                </a:extLst>
              </a:tr>
              <a:tr h="345567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Region 7-Granville-Vance Public Health</a:t>
                      </a:r>
                      <a:endParaRPr lang="en-US" sz="14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$2,756,453.00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1,369,52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50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1,359,36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99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896048347"/>
                  </a:ext>
                </a:extLst>
              </a:tr>
              <a:tr h="336042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Region 8-Duplin County Health Department</a:t>
                      </a:r>
                      <a:endParaRPr lang="en-US" sz="14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$2,449,305.00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1,316,75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54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1,034,57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96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979595977"/>
                  </a:ext>
                </a:extLst>
              </a:tr>
              <a:tr h="288036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Region 9-Albemarle Regional Health Services</a:t>
                      </a:r>
                      <a:endParaRPr lang="en-US" sz="14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$2,193,346.00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rtl="0" fontAlgn="t"/>
                      <a:r>
                        <a:rPr lang="en-US" sz="14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$1,384,94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63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808,40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100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395438365"/>
                  </a:ext>
                </a:extLst>
              </a:tr>
              <a:tr h="355219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Region 10-Pitt County Health Department</a:t>
                      </a:r>
                      <a:endParaRPr lang="en-US" sz="14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$1,773,116.00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329,03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effectLst/>
                        </a:rPr>
                        <a:t>19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</a:t>
                      </a:r>
                      <a:r>
                        <a:rPr lang="en-US" sz="1400" i="1" dirty="0">
                          <a:effectLst/>
                        </a:rPr>
                        <a:t>1,418,71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98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2390883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14694615"/>
                  </a:ext>
                </a:extLst>
              </a:tr>
              <a:tr h="297307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Grand Total</a:t>
                      </a:r>
                      <a:endParaRPr lang="en-US" sz="14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$21,015,305.00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10,398,20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50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11,602,59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99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8992963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9161788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B2DED3-1AB6-E03E-AEC4-4E3972BD5D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45720" rIns="0" bIns="45720" anchor="ctr"/>
          <a:lstStyle/>
          <a:p>
            <a:r>
              <a:rPr lang="en-US" dirty="0">
                <a:cs typeface="Arial"/>
              </a:rPr>
              <a:t>AA 621 Regional Workforce Spending – Cumulative with Encumbered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69359DD-B79E-6635-2B23-C1756471E928}"/>
              </a:ext>
            </a:extLst>
          </p:cNvPr>
          <p:cNvSpPr txBox="1"/>
          <p:nvPr/>
        </p:nvSpPr>
        <p:spPr>
          <a:xfrm>
            <a:off x="2418915" y="6011545"/>
            <a:ext cx="7354167" cy="5232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/>
                <a:ea typeface="+mn-ea"/>
                <a:cs typeface="+mn-cs"/>
              </a:rPr>
              <a:t>Data as of the Nov ATC Report – 11-20-2023 &amp; based on Regional Spending Plan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/>
                <a:ea typeface="+mn-ea"/>
                <a:cs typeface="+mn-cs"/>
              </a:rPr>
              <a:t>Includes Care Mgmt. Pilot Funds – Regions 8 &amp; 9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 pitchFamily="34" charset="0"/>
              <a:ea typeface="+mn-ea"/>
              <a:cs typeface="+mn-cs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129B3E5F-0A93-D7FF-44A0-37DFB594A3E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78854"/>
              </p:ext>
            </p:extLst>
          </p:nvPr>
        </p:nvGraphicFramePr>
        <p:xfrm>
          <a:off x="774382" y="1003300"/>
          <a:ext cx="10273523" cy="4832223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3394847">
                  <a:extLst>
                    <a:ext uri="{9D8B030D-6E8A-4147-A177-3AD203B41FA5}">
                      <a16:colId xmlns:a16="http://schemas.microsoft.com/office/drawing/2014/main" val="970267039"/>
                    </a:ext>
                  </a:extLst>
                </a:gridCol>
                <a:gridCol w="1719942">
                  <a:extLst>
                    <a:ext uri="{9D8B030D-6E8A-4147-A177-3AD203B41FA5}">
                      <a16:colId xmlns:a16="http://schemas.microsoft.com/office/drawing/2014/main" val="544360071"/>
                    </a:ext>
                  </a:extLst>
                </a:gridCol>
                <a:gridCol w="1307318">
                  <a:extLst>
                    <a:ext uri="{9D8B030D-6E8A-4147-A177-3AD203B41FA5}">
                      <a16:colId xmlns:a16="http://schemas.microsoft.com/office/drawing/2014/main" val="3175782710"/>
                    </a:ext>
                  </a:extLst>
                </a:gridCol>
                <a:gridCol w="1359323">
                  <a:extLst>
                    <a:ext uri="{9D8B030D-6E8A-4147-A177-3AD203B41FA5}">
                      <a16:colId xmlns:a16="http://schemas.microsoft.com/office/drawing/2014/main" val="2693905226"/>
                    </a:ext>
                  </a:extLst>
                </a:gridCol>
                <a:gridCol w="1455773">
                  <a:extLst>
                    <a:ext uri="{9D8B030D-6E8A-4147-A177-3AD203B41FA5}">
                      <a16:colId xmlns:a16="http://schemas.microsoft.com/office/drawing/2014/main" val="2740183274"/>
                    </a:ext>
                  </a:extLst>
                </a:gridCol>
                <a:gridCol w="1036320">
                  <a:extLst>
                    <a:ext uri="{9D8B030D-6E8A-4147-A177-3AD203B41FA5}">
                      <a16:colId xmlns:a16="http://schemas.microsoft.com/office/drawing/2014/main" val="4188136497"/>
                    </a:ext>
                  </a:extLst>
                </a:gridCol>
              </a:tblGrid>
              <a:tr h="355219"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LHD Regional Leads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Budgeted Amount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Total Spent</a:t>
                      </a:r>
                      <a:endParaRPr lang="en-US" sz="14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Percent Spent (ATC)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Encumbered &amp; Obligated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Percent </a:t>
                      </a:r>
                      <a:r>
                        <a:rPr lang="en-US" sz="1400" kern="1200" dirty="0" err="1">
                          <a:effectLst/>
                        </a:rPr>
                        <a:t>Spent+E</a:t>
                      </a:r>
                      <a:r>
                        <a:rPr lang="en-US" sz="1400" kern="1200" dirty="0">
                          <a:effectLst/>
                        </a:rPr>
                        <a:t>/O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782356465"/>
                  </a:ext>
                </a:extLst>
              </a:tr>
              <a:tr h="355219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Region 1-Transylvania County Department of Public Health</a:t>
                      </a:r>
                      <a:endParaRPr lang="en-US" sz="14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$1,000,000.00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>
                          <a:effectLst/>
                          <a:latin typeface="+mn-lt"/>
                        </a:rPr>
                        <a:t>$633,362.9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63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366,63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100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235689938"/>
                  </a:ext>
                </a:extLst>
              </a:tr>
              <a:tr h="316865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Region 2-Foothills Health District</a:t>
                      </a:r>
                      <a:endParaRPr lang="en-US" sz="14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$1,550,947.00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>
                          <a:effectLst/>
                          <a:latin typeface="+mn-lt"/>
                        </a:rPr>
                        <a:t>$860,023.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55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effectLst/>
                        </a:rPr>
                        <a:t>$690,92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100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904684708"/>
                  </a:ext>
                </a:extLst>
              </a:tr>
              <a:tr h="340201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Region 3-Appalachian District Health Department</a:t>
                      </a:r>
                      <a:endParaRPr lang="en-US" sz="14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$1,678,839.00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>
                          <a:effectLst/>
                          <a:latin typeface="+mn-lt"/>
                        </a:rPr>
                        <a:t>$1,093,224.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65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585,61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100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92721073"/>
                  </a:ext>
                </a:extLst>
              </a:tr>
              <a:tr h="316865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Region 4-Cabarrus Health Alliance</a:t>
                      </a:r>
                      <a:endParaRPr lang="en-US" sz="14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$3,265,772.00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>
                          <a:effectLst/>
                          <a:latin typeface="+mn-lt"/>
                        </a:rPr>
                        <a:t>$1,954,448.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60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effectLst/>
                        </a:rPr>
                        <a:t>$1,311,32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100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865568523"/>
                  </a:ext>
                </a:extLst>
              </a:tr>
              <a:tr h="336042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Region 5-Guilford County Division of Public Health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$2,350,272.00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>
                          <a:effectLst/>
                          <a:latin typeface="+mn-lt"/>
                        </a:rPr>
                        <a:t>$1,034,171.5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44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1,245,59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97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90942368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Region 6-Cumberland County Health Department</a:t>
                      </a:r>
                      <a:endParaRPr lang="en-US" sz="14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$1,997,255.00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>
                          <a:effectLst/>
                          <a:latin typeface="+mn-lt"/>
                        </a:rPr>
                        <a:t>$909,765.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46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1,027,57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97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382895115"/>
                  </a:ext>
                </a:extLst>
              </a:tr>
              <a:tr h="345567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Region 7-Granville-Vance Public Health</a:t>
                      </a:r>
                      <a:endParaRPr lang="en-US" sz="14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$2,756,453.00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>
                          <a:effectLst/>
                          <a:latin typeface="+mn-lt"/>
                        </a:rPr>
                        <a:t>$1,505,967.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55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1,222,92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99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896048347"/>
                  </a:ext>
                </a:extLst>
              </a:tr>
              <a:tr h="336042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Region 8-Duplin County Health Department</a:t>
                      </a:r>
                      <a:endParaRPr lang="en-US" sz="14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$2,449,305.00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>
                          <a:effectLst/>
                          <a:latin typeface="+mn-lt"/>
                        </a:rPr>
                        <a:t>$1,370,810.1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56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980,523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96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979595977"/>
                  </a:ext>
                </a:extLst>
              </a:tr>
              <a:tr h="288036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Region 9-Albemarle Regional Health Services</a:t>
                      </a:r>
                      <a:endParaRPr lang="en-US" sz="14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$2,193,346.00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>
                          <a:effectLst/>
                          <a:latin typeface="+mn-lt"/>
                        </a:rPr>
                        <a:t>$1,451,448.2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66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741,898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100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395438365"/>
                  </a:ext>
                </a:extLst>
              </a:tr>
              <a:tr h="355219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Region 10-Pitt County Health Department</a:t>
                      </a:r>
                      <a:endParaRPr lang="en-US" sz="14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$1,773,116.00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>
                          <a:effectLst/>
                          <a:latin typeface="+mn-lt"/>
                        </a:rPr>
                        <a:t>$502,303.6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effectLst/>
                        </a:rPr>
                        <a:t>28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</a:t>
                      </a:r>
                      <a:r>
                        <a:rPr lang="en-US" sz="1400" i="1" dirty="0">
                          <a:effectLst/>
                        </a:rPr>
                        <a:t>1,235,350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98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2390883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14694615"/>
                  </a:ext>
                </a:extLst>
              </a:tr>
              <a:tr h="297307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Grand Total</a:t>
                      </a:r>
                      <a:endParaRPr lang="en-US" sz="14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$21,015,305.00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11,315,525.6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54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9,408,35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99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8992963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4218054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B2DED3-1AB6-E03E-AEC4-4E3972BD5D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45720" rIns="0" bIns="45720" anchor="ctr"/>
          <a:lstStyle/>
          <a:p>
            <a:r>
              <a:rPr lang="en-US" dirty="0">
                <a:cs typeface="Arial"/>
              </a:rPr>
              <a:t>AA 621 Regional Workforce Spending – Cumulative with Encumbered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69359DD-B79E-6635-2B23-C1756471E928}"/>
              </a:ext>
            </a:extLst>
          </p:cNvPr>
          <p:cNvSpPr txBox="1"/>
          <p:nvPr/>
        </p:nvSpPr>
        <p:spPr>
          <a:xfrm>
            <a:off x="2418915" y="6011545"/>
            <a:ext cx="7354167" cy="52322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/>
                <a:ea typeface="+mn-ea"/>
                <a:cs typeface="+mn-cs"/>
              </a:rPr>
              <a:t>Data as of the Dec ATC Report– 12-18-2023 &amp; based on Regional Spending Plan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ranklin Gothic Book"/>
                <a:ea typeface="+mn-ea"/>
                <a:cs typeface="+mn-cs"/>
              </a:rPr>
              <a:t>Includes Care Mgmt. Pilot Funds – Regions 8 &amp; 9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ranklin Gothic Book" panose="020B0503020102020204" pitchFamily="34" charset="0"/>
              <a:ea typeface="+mn-ea"/>
              <a:cs typeface="+mn-cs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129B3E5F-0A93-D7FF-44A0-37DFB594A3E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832788"/>
              </p:ext>
            </p:extLst>
          </p:nvPr>
        </p:nvGraphicFramePr>
        <p:xfrm>
          <a:off x="774382" y="1003300"/>
          <a:ext cx="10273523" cy="4832223"/>
        </p:xfrm>
        <a:graphic>
          <a:graphicData uri="http://schemas.openxmlformats.org/drawingml/2006/table">
            <a:tbl>
              <a:tblPr firstRow="1" bandRow="1">
                <a:tableStyleId>{93296810-A885-4BE3-A3E7-6D5BEEA58F35}</a:tableStyleId>
              </a:tblPr>
              <a:tblGrid>
                <a:gridCol w="3394847">
                  <a:extLst>
                    <a:ext uri="{9D8B030D-6E8A-4147-A177-3AD203B41FA5}">
                      <a16:colId xmlns:a16="http://schemas.microsoft.com/office/drawing/2014/main" val="970267039"/>
                    </a:ext>
                  </a:extLst>
                </a:gridCol>
                <a:gridCol w="1719942">
                  <a:extLst>
                    <a:ext uri="{9D8B030D-6E8A-4147-A177-3AD203B41FA5}">
                      <a16:colId xmlns:a16="http://schemas.microsoft.com/office/drawing/2014/main" val="544360071"/>
                    </a:ext>
                  </a:extLst>
                </a:gridCol>
                <a:gridCol w="1307318">
                  <a:extLst>
                    <a:ext uri="{9D8B030D-6E8A-4147-A177-3AD203B41FA5}">
                      <a16:colId xmlns:a16="http://schemas.microsoft.com/office/drawing/2014/main" val="3175782710"/>
                    </a:ext>
                  </a:extLst>
                </a:gridCol>
                <a:gridCol w="1359323">
                  <a:extLst>
                    <a:ext uri="{9D8B030D-6E8A-4147-A177-3AD203B41FA5}">
                      <a16:colId xmlns:a16="http://schemas.microsoft.com/office/drawing/2014/main" val="2693905226"/>
                    </a:ext>
                  </a:extLst>
                </a:gridCol>
                <a:gridCol w="1455773">
                  <a:extLst>
                    <a:ext uri="{9D8B030D-6E8A-4147-A177-3AD203B41FA5}">
                      <a16:colId xmlns:a16="http://schemas.microsoft.com/office/drawing/2014/main" val="2740183274"/>
                    </a:ext>
                  </a:extLst>
                </a:gridCol>
                <a:gridCol w="1036320">
                  <a:extLst>
                    <a:ext uri="{9D8B030D-6E8A-4147-A177-3AD203B41FA5}">
                      <a16:colId xmlns:a16="http://schemas.microsoft.com/office/drawing/2014/main" val="4188136497"/>
                    </a:ext>
                  </a:extLst>
                </a:gridCol>
              </a:tblGrid>
              <a:tr h="355219"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LHD Regional Leads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Budgeted Amount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Total Spent</a:t>
                      </a:r>
                      <a:endParaRPr lang="en-US" sz="14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Percent Spent (ATC)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Encumbered &amp; Obligated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Percent </a:t>
                      </a:r>
                      <a:r>
                        <a:rPr lang="en-US" sz="1400" kern="1200" dirty="0" err="1">
                          <a:effectLst/>
                        </a:rPr>
                        <a:t>Spent+E</a:t>
                      </a:r>
                      <a:r>
                        <a:rPr lang="en-US" sz="1400" kern="1200" dirty="0">
                          <a:effectLst/>
                        </a:rPr>
                        <a:t>/O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782356465"/>
                  </a:ext>
                </a:extLst>
              </a:tr>
              <a:tr h="355219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Region 1-Transylvania County Department of Public Health</a:t>
                      </a:r>
                      <a:endParaRPr lang="en-US" sz="14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$1,000,000.00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>
                          <a:effectLst/>
                          <a:latin typeface="+mn-lt"/>
                        </a:rPr>
                        <a:t>$692,373.4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69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307627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100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235689938"/>
                  </a:ext>
                </a:extLst>
              </a:tr>
              <a:tr h="316865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Region 2-Foothills Health District</a:t>
                      </a:r>
                      <a:endParaRPr lang="en-US" sz="14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$1,550,947.00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>
                          <a:effectLst/>
                          <a:latin typeface="+mn-lt"/>
                        </a:rPr>
                        <a:t>$996,807.1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64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effectLst/>
                        </a:rPr>
                        <a:t>$554,139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100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904684708"/>
                  </a:ext>
                </a:extLst>
              </a:tr>
              <a:tr h="340201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Region 3-Appalachian District Health Department</a:t>
                      </a:r>
                      <a:endParaRPr lang="en-US" sz="14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$1,678,839.00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>
                          <a:effectLst/>
                          <a:latin typeface="+mn-lt"/>
                        </a:rPr>
                        <a:t>$1,213,585.7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72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465,25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100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92721073"/>
                  </a:ext>
                </a:extLst>
              </a:tr>
              <a:tr h="316865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Region 4-Cabarrus Health Alliance</a:t>
                      </a:r>
                      <a:endParaRPr lang="en-US" sz="14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$3,265,772.00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>
                          <a:effectLst/>
                          <a:latin typeface="+mn-lt"/>
                        </a:rPr>
                        <a:t>$2,103,340.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64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effectLst/>
                        </a:rPr>
                        <a:t>$1,292,43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100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865568523"/>
                  </a:ext>
                </a:extLst>
              </a:tr>
              <a:tr h="336042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Region 5-Guilford County Division of Public Health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$2,350,272.00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>
                          <a:effectLst/>
                          <a:latin typeface="+mn-lt"/>
                        </a:rPr>
                        <a:t>$1,094,229.8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47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1,185,53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97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90942368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Region 6-Cumberland County Health Department</a:t>
                      </a:r>
                      <a:endParaRPr lang="en-US" sz="14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$1,997,255.00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>
                          <a:effectLst/>
                          <a:latin typeface="+mn-lt"/>
                        </a:rPr>
                        <a:t>$1,113,635.4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56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823,70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97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382895115"/>
                  </a:ext>
                </a:extLst>
              </a:tr>
              <a:tr h="345567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Region 7-Granville-Vance Public Health</a:t>
                      </a:r>
                      <a:endParaRPr lang="en-US" sz="14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$2,756,453.00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>
                          <a:effectLst/>
                          <a:latin typeface="+mn-lt"/>
                        </a:rPr>
                        <a:t>$1,613,536.3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59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1,115,352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99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896048347"/>
                  </a:ext>
                </a:extLst>
              </a:tr>
              <a:tr h="336042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Region 8-Duplin County Health Department</a:t>
                      </a:r>
                      <a:endParaRPr lang="en-US" sz="14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$2,449,305.00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>
                          <a:effectLst/>
                          <a:latin typeface="+mn-lt"/>
                        </a:rPr>
                        <a:t>$1,455,508.5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59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895,824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96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979595977"/>
                  </a:ext>
                </a:extLst>
              </a:tr>
              <a:tr h="288036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Region 9-Albemarle Regional Health Services</a:t>
                      </a:r>
                      <a:endParaRPr lang="en-US" sz="14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$2,193,346.00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>
                          <a:effectLst/>
                          <a:latin typeface="+mn-lt"/>
                        </a:rPr>
                        <a:t>$1,512,915.5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69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680,43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100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395438365"/>
                  </a:ext>
                </a:extLst>
              </a:tr>
              <a:tr h="355219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Region 10-Pitt County Health Department</a:t>
                      </a:r>
                      <a:endParaRPr lang="en-US" sz="14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$1,773,116.00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>
                          <a:effectLst/>
                          <a:latin typeface="+mn-lt"/>
                        </a:rPr>
                        <a:t>$631,972.9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effectLst/>
                        </a:rPr>
                        <a:t>36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</a:t>
                      </a:r>
                      <a:r>
                        <a:rPr lang="en-US" sz="1400" i="1" dirty="0">
                          <a:effectLst/>
                        </a:rPr>
                        <a:t>1,105,681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98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2390883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05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014694615"/>
                  </a:ext>
                </a:extLst>
              </a:tr>
              <a:tr h="297307">
                <a:tc>
                  <a:txBody>
                    <a:bodyPr/>
                    <a:lstStyle/>
                    <a:p>
                      <a:pPr marL="0" algn="l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>
                          <a:effectLst/>
                        </a:rPr>
                        <a:t>Grand Total</a:t>
                      </a:r>
                      <a:endParaRPr lang="en-US" sz="140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kern="1200" dirty="0">
                          <a:effectLst/>
                        </a:rPr>
                        <a:t>$21,015,305.00</a:t>
                      </a:r>
                      <a:endParaRPr lang="en-US" sz="1400" dirty="0">
                        <a:effectLst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12,427,905.66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59%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$8,425,975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algn="ctr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dirty="0">
                          <a:effectLst/>
                        </a:rPr>
                        <a:t>99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89929631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580040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SklsIi8gFyGZ5p8qYrZx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fboMtqleFouv77ZPYW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fboMtqleFouv77ZPYWe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8_Office Theme">
  <a:themeElements>
    <a:clrScheme name="Blue Green">
      <a:dk1>
        <a:sysClr val="windowText" lastClr="000000"/>
      </a:dk1>
      <a:lt1>
        <a:sysClr val="window" lastClr="FFFFFF"/>
      </a:lt1>
      <a:dk2>
        <a:srgbClr val="373545"/>
      </a:dk2>
      <a:lt2>
        <a:srgbClr val="CEDBE6"/>
      </a:lt2>
      <a:accent1>
        <a:srgbClr val="3494BA"/>
      </a:accent1>
      <a:accent2>
        <a:srgbClr val="58B6C0"/>
      </a:accent2>
      <a:accent3>
        <a:srgbClr val="75BDA7"/>
      </a:accent3>
      <a:accent4>
        <a:srgbClr val="7A8C8E"/>
      </a:accent4>
      <a:accent5>
        <a:srgbClr val="84ACB6"/>
      </a:accent5>
      <a:accent6>
        <a:srgbClr val="2683C6"/>
      </a:accent6>
      <a:hlink>
        <a:srgbClr val="6B9F25"/>
      </a:hlink>
      <a:folHlink>
        <a:srgbClr val="9F6715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000" dirty="0" smtClean="0">
            <a:latin typeface="Franklin Gothic Book" panose="020B05030201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81A7BE11EB38E4299DD6EA58AED5D3F" ma:contentTypeVersion="13" ma:contentTypeDescription="Create a new document." ma:contentTypeScope="" ma:versionID="a98ef79452b7c76fd7f3ec4fa37ebfaf">
  <xsd:schema xmlns:xsd="http://www.w3.org/2001/XMLSchema" xmlns:xs="http://www.w3.org/2001/XMLSchema" xmlns:p="http://schemas.microsoft.com/office/2006/metadata/properties" xmlns:ns2="9bf525fb-8aec-463c-8437-5573e00e06f0" xmlns:ns3="4cb6f0f2-89fb-4381-9cb2-a2abf7f796a9" targetNamespace="http://schemas.microsoft.com/office/2006/metadata/properties" ma:root="true" ma:fieldsID="29d02ae1577a828671e6d0718cd39785" ns2:_="" ns3:_="">
    <xsd:import namespace="9bf525fb-8aec-463c-8437-5573e00e06f0"/>
    <xsd:import namespace="4cb6f0f2-89fb-4381-9cb2-a2abf7f796a9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bf525fb-8aec-463c-8437-5573e00e06f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3" nillable="true" ma:taxonomy="true" ma:internalName="lcf76f155ced4ddcb4097134ff3c332f" ma:taxonomyFieldName="MediaServiceImageTags" ma:displayName="Image Tags" ma:readOnly="false" ma:fieldId="{5cf76f15-5ced-4ddc-b409-7134ff3c332f}" ma:taxonomyMulti="true" ma:sspId="da2157d8-ccc1-4fc8-a2a4-3f8f6553454f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cb6f0f2-89fb-4381-9cb2-a2abf7f796a9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4" nillable="true" ma:displayName="Taxonomy Catch All Column" ma:hidden="true" ma:list="{b6c71d14-58e2-4443-ad45-b4ea3a0576af}" ma:internalName="TaxCatchAll" ma:showField="CatchAllData" ma:web="4cb6f0f2-89fb-4381-9cb2-a2abf7f796a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4cb6f0f2-89fb-4381-9cb2-a2abf7f796a9" xsi:nil="true"/>
    <lcf76f155ced4ddcb4097134ff3c332f xmlns="9bf525fb-8aec-463c-8437-5573e00e06f0">
      <Terms xmlns="http://schemas.microsoft.com/office/infopath/2007/PartnerControls"/>
    </lcf76f155ced4ddcb4097134ff3c332f>
  </documentManagement>
</p:properties>
</file>

<file path=customXml/itemProps1.xml><?xml version="1.0" encoding="utf-8"?>
<ds:datastoreItem xmlns:ds="http://schemas.openxmlformats.org/officeDocument/2006/customXml" ds:itemID="{D3BD8764-2C33-49AE-9888-D65FE0F80F2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C14CB990-D650-4BAB-8D54-64D3B910C0E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bf525fb-8aec-463c-8437-5573e00e06f0"/>
    <ds:schemaRef ds:uri="4cb6f0f2-89fb-4381-9cb2-a2abf7f796a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C7CE3E30-4EEF-4F45-B9A1-0412D65DF0BB}">
  <ds:schemaRefs>
    <ds:schemaRef ds:uri="http://purl.org/dc/elements/1.1/"/>
    <ds:schemaRef ds:uri="http://www.w3.org/XML/1998/namespace"/>
    <ds:schemaRef ds:uri="http://schemas.microsoft.com/office/2006/metadata/properties"/>
    <ds:schemaRef ds:uri="http://purl.org/dc/terms/"/>
    <ds:schemaRef ds:uri="http://purl.org/dc/dcmitype/"/>
    <ds:schemaRef ds:uri="http://schemas.microsoft.com/office/2006/documentManagement/types"/>
    <ds:schemaRef ds:uri="9bf525fb-8aec-463c-8437-5573e00e06f0"/>
    <ds:schemaRef ds:uri="4cb6f0f2-89fb-4381-9cb2-a2abf7f796a9"/>
    <ds:schemaRef ds:uri="http://schemas.microsoft.com/office/infopath/2007/PartnerControls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0230</TotalTime>
  <Words>1254</Words>
  <Application>Microsoft Office PowerPoint</Application>
  <PresentationFormat>Widescreen</PresentationFormat>
  <Paragraphs>385</Paragraphs>
  <Slides>7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7" baseType="lpstr">
      <vt:lpstr>Arial</vt:lpstr>
      <vt:lpstr>Calibri</vt:lpstr>
      <vt:lpstr>Calibri Light</vt:lpstr>
      <vt:lpstr>Century Gothic</vt:lpstr>
      <vt:lpstr>Franklin Gothic Book</vt:lpstr>
      <vt:lpstr>Franklin Gothic Demi Cond</vt:lpstr>
      <vt:lpstr>Franklin Gothic Medium</vt:lpstr>
      <vt:lpstr>Office Theme</vt:lpstr>
      <vt:lpstr>8_Office Theme</vt:lpstr>
      <vt:lpstr>think-cell Slide</vt:lpstr>
      <vt:lpstr>AA 621 Finances (FY 24)</vt:lpstr>
      <vt:lpstr>LHD by NCALHD region (proposed 2-year funding for AA 621)</vt:lpstr>
      <vt:lpstr>ARPA Local PH Workforce Initiative AA 621 (FY24)</vt:lpstr>
      <vt:lpstr>AA 621 Regional Workforce Spending – Cumulative with Encumbered</vt:lpstr>
      <vt:lpstr>AA 621 Regional Workforce Spending – Cumulative with Encumbered</vt:lpstr>
      <vt:lpstr>AA 621 Regional Workforce Spending – Cumulative with Encumbered</vt:lpstr>
      <vt:lpstr>AA 621 Regional Workforce Spending – Cumulative with Encumbered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A 621 Finances (FY 24)</dc:title>
  <dc:creator>Stone, David O</dc:creator>
  <cp:lastModifiedBy>Karen Davis</cp:lastModifiedBy>
  <cp:revision>3</cp:revision>
  <dcterms:created xsi:type="dcterms:W3CDTF">2023-10-25T13:51:54Z</dcterms:created>
  <dcterms:modified xsi:type="dcterms:W3CDTF">2023-12-20T20:16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81A7BE11EB38E4299DD6EA58AED5D3F</vt:lpwstr>
  </property>
  <property fmtid="{D5CDD505-2E9C-101B-9397-08002B2CF9AE}" pid="3" name="MediaServiceImageTags">
    <vt:lpwstr/>
  </property>
</Properties>
</file>